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3.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6.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7.xml" ContentType="application/vnd.openxmlformats-officedocument.presentationml.tags+xml"/>
  <Override PartName="/ppt/charts/chart22.xml" ContentType="application/vnd.openxmlformats-officedocument.drawingml.chart+xml"/>
  <Override PartName="/ppt/tags/tag38.xml" ContentType="application/vnd.openxmlformats-officedocument.presentationml.tags+xml"/>
  <Override PartName="/ppt/charts/chart23.xml" ContentType="application/vnd.openxmlformats-officedocument.drawingml.chart+xml"/>
  <Override PartName="/ppt/tags/tag39.xml" ContentType="application/vnd.openxmlformats-officedocument.presentationml.tags+xml"/>
  <Override PartName="/ppt/charts/chart24.xml" ContentType="application/vnd.openxmlformats-officedocument.drawingml.chart+xml"/>
  <Override PartName="/ppt/tags/tag40.xml" ContentType="application/vnd.openxmlformats-officedocument.presentationml.tags+xml"/>
  <Override PartName="/ppt/charts/chart25.xml" ContentType="application/vnd.openxmlformats-officedocument.drawingml.chart+xml"/>
  <Override PartName="/ppt/tags/tag41.xml" ContentType="application/vnd.openxmlformats-officedocument.presentationml.tags+xml"/>
  <Override PartName="/ppt/charts/chart26.xml" ContentType="application/vnd.openxmlformats-officedocument.drawingml.chart+xml"/>
  <Override PartName="/ppt/tags/tag42.xml" ContentType="application/vnd.openxmlformats-officedocument.presentationml.tags+xml"/>
  <Override PartName="/ppt/charts/chart27.xml" ContentType="application/vnd.openxmlformats-officedocument.drawingml.chart+xml"/>
  <Override PartName="/ppt/tags/tag43.xml" ContentType="application/vnd.openxmlformats-officedocument.presentationml.tags+xml"/>
  <Override PartName="/ppt/charts/chart28.xml" ContentType="application/vnd.openxmlformats-officedocument.drawingml.chart+xml"/>
  <Override PartName="/ppt/tags/tag44.xml" ContentType="application/vnd.openxmlformats-officedocument.presentationml.tags+xml"/>
  <Override PartName="/ppt/charts/chart29.xml" ContentType="application/vnd.openxmlformats-officedocument.drawingml.chart+xml"/>
  <Override PartName="/ppt/tags/tag45.xml" ContentType="application/vnd.openxmlformats-officedocument.presentationml.tags+xml"/>
  <Override PartName="/ppt/charts/chart30.xml" ContentType="application/vnd.openxmlformats-officedocument.drawingml.chart+xml"/>
  <Override PartName="/ppt/tags/tag46.xml" ContentType="application/vnd.openxmlformats-officedocument.presentationml.tags+xml"/>
  <Override PartName="/ppt/charts/chart31.xml" ContentType="application/vnd.openxmlformats-officedocument.drawingml.chart+xml"/>
  <Override PartName="/ppt/tags/tag47.xml" ContentType="application/vnd.openxmlformats-officedocument.presentationml.tags+xml"/>
  <Override PartName="/ppt/charts/chart32.xml" ContentType="application/vnd.openxmlformats-officedocument.drawingml.chart+xml"/>
  <Override PartName="/ppt/tags/tag48.xml" ContentType="application/vnd.openxmlformats-officedocument.presentationml.tags+xml"/>
  <Override PartName="/ppt/charts/chart33.xml" ContentType="application/vnd.openxmlformats-officedocument.drawingml.chart+xml"/>
  <Override PartName="/ppt/tags/tag49.xml" ContentType="application/vnd.openxmlformats-officedocument.presentationml.tags+xml"/>
  <Override PartName="/ppt/charts/chart34.xml" ContentType="application/vnd.openxmlformats-officedocument.drawingml.chart+xml"/>
  <Override PartName="/ppt/tags/tag50.xml" ContentType="application/vnd.openxmlformats-officedocument.presentationml.tags+xml"/>
  <Override PartName="/ppt/charts/chart35.xml" ContentType="application/vnd.openxmlformats-officedocument.drawingml.chart+xml"/>
  <Override PartName="/ppt/tags/tag51.xml" ContentType="application/vnd.openxmlformats-officedocument.presentationml.tags+xml"/>
  <Override PartName="/ppt/charts/chart36.xml" ContentType="application/vnd.openxmlformats-officedocument.drawingml.chart+xml"/>
  <Override PartName="/ppt/tags/tag52.xml" ContentType="application/vnd.openxmlformats-officedocument.presentationml.tags+xml"/>
  <Override PartName="/ppt/charts/chart37.xml" ContentType="application/vnd.openxmlformats-officedocument.drawingml.chart+xml"/>
  <Override PartName="/ppt/tags/tag53.xml" ContentType="application/vnd.openxmlformats-officedocument.presentationml.tags+xml"/>
  <Override PartName="/ppt/charts/chart38.xml" ContentType="application/vnd.openxmlformats-officedocument.drawingml.chart+xml"/>
  <Override PartName="/ppt/tags/tag54.xml" ContentType="application/vnd.openxmlformats-officedocument.presentationml.tags+xml"/>
  <Override PartName="/ppt/charts/chart39.xml" ContentType="application/vnd.openxmlformats-officedocument.drawingml.chart+xml"/>
  <Override PartName="/ppt/tags/tag55.xml" ContentType="application/vnd.openxmlformats-officedocument.presentationml.tags+xml"/>
  <Override PartName="/ppt/charts/chart40.xml" ContentType="application/vnd.openxmlformats-officedocument.drawingml.chart+xml"/>
  <Override PartName="/ppt/tags/tag56.xml" ContentType="application/vnd.openxmlformats-officedocument.presentationml.tags+xml"/>
  <Override PartName="/ppt/charts/chart41.xml" ContentType="application/vnd.openxmlformats-officedocument.drawingml.chart+xml"/>
  <Override PartName="/ppt/tags/tag57.xml" ContentType="application/vnd.openxmlformats-officedocument.presentationml.tags+xml"/>
  <Override PartName="/ppt/charts/chart42.xml" ContentType="application/vnd.openxmlformats-officedocument.drawingml.chart+xml"/>
  <Override PartName="/ppt/tags/tag58.xml" ContentType="application/vnd.openxmlformats-officedocument.presentationml.tags+xml"/>
  <Override PartName="/ppt/charts/chart43.xml" ContentType="application/vnd.openxmlformats-officedocument.drawingml.chart+xml"/>
  <Override PartName="/ppt/tags/tag59.xml" ContentType="application/vnd.openxmlformats-officedocument.presentationml.tags+xml"/>
  <Override PartName="/ppt/charts/chart44.xml" ContentType="application/vnd.openxmlformats-officedocument.drawingml.chart+xml"/>
  <Override PartName="/ppt/tags/tag60.xml" ContentType="application/vnd.openxmlformats-officedocument.presentationml.tags+xml"/>
  <Override PartName="/ppt/charts/chart45.xml" ContentType="application/vnd.openxmlformats-officedocument.drawingml.chart+xml"/>
  <Override PartName="/ppt/tags/tag61.xml" ContentType="application/vnd.openxmlformats-officedocument.presentationml.tags+xml"/>
  <Override PartName="/ppt/charts/chart46.xml" ContentType="application/vnd.openxmlformats-officedocument.drawingml.chart+xml"/>
  <Override PartName="/ppt/tags/tag62.xml" ContentType="application/vnd.openxmlformats-officedocument.presentationml.tags+xml"/>
  <Override PartName="/ppt/charts/chart47.xml" ContentType="application/vnd.openxmlformats-officedocument.drawingml.chart+xml"/>
  <Override PartName="/ppt/tags/tag63.xml" ContentType="application/vnd.openxmlformats-officedocument.presentationml.tags+xml"/>
  <Override PartName="/ppt/charts/chart48.xml" ContentType="application/vnd.openxmlformats-officedocument.drawingml.chart+xml"/>
  <Override PartName="/ppt/tags/tag64.xml" ContentType="application/vnd.openxmlformats-officedocument.presentationml.tags+xml"/>
  <Override PartName="/ppt/charts/chart49.xml" ContentType="application/vnd.openxmlformats-officedocument.drawingml.chart+xml"/>
  <Override PartName="/ppt/tags/tag65.xml" ContentType="application/vnd.openxmlformats-officedocument.presentationml.tags+xml"/>
  <Override PartName="/ppt/charts/chart50.xml" ContentType="application/vnd.openxmlformats-officedocument.drawingml.chart+xml"/>
  <Override PartName="/ppt/tags/tag66.xml" ContentType="application/vnd.openxmlformats-officedocument.presentationml.tags+xml"/>
  <Override PartName="/ppt/charts/chart51.xml" ContentType="application/vnd.openxmlformats-officedocument.drawingml.chart+xml"/>
  <Override PartName="/ppt/tags/tag67.xml" ContentType="application/vnd.openxmlformats-officedocument.presentationml.tags+xml"/>
  <Override PartName="/ppt/charts/chart52.xml" ContentType="application/vnd.openxmlformats-officedocument.drawingml.chart+xml"/>
  <Override PartName="/ppt/tags/tag68.xml" ContentType="application/vnd.openxmlformats-officedocument.presentationml.tags+xml"/>
  <Override PartName="/ppt/charts/chart53.xml" ContentType="application/vnd.openxmlformats-officedocument.drawingml.chart+xml"/>
  <Override PartName="/ppt/tags/tag69.xml" ContentType="application/vnd.openxmlformats-officedocument.presentationml.tags+xml"/>
  <Override PartName="/ppt/charts/chart54.xml" ContentType="application/vnd.openxmlformats-officedocument.drawingml.chart+xml"/>
  <Override PartName="/ppt/tags/tag70.xml" ContentType="application/vnd.openxmlformats-officedocument.presentationml.tags+xml"/>
  <Override PartName="/ppt/charts/chart55.xml" ContentType="application/vnd.openxmlformats-officedocument.drawingml.chart+xml"/>
  <Override PartName="/ppt/tags/tag71.xml" ContentType="application/vnd.openxmlformats-officedocument.presentationml.tags+xml"/>
  <Override PartName="/ppt/charts/chart56.xml" ContentType="application/vnd.openxmlformats-officedocument.drawingml.chart+xml"/>
  <Override PartName="/ppt/tags/tag72.xml" ContentType="application/vnd.openxmlformats-officedocument.presentationml.tags+xml"/>
  <Override PartName="/ppt/charts/chart57.xml" ContentType="application/vnd.openxmlformats-officedocument.drawingml.chart+xml"/>
  <Override PartName="/ppt/tags/tag73.xml" ContentType="application/vnd.openxmlformats-officedocument.presentationml.tags+xml"/>
  <Override PartName="/ppt/charts/chart58.xml" ContentType="application/vnd.openxmlformats-officedocument.drawingml.chart+xml"/>
  <Override PartName="/ppt/tags/tag74.xml" ContentType="application/vnd.openxmlformats-officedocument.presentationml.tags+xml"/>
  <Override PartName="/ppt/charts/chart59.xml" ContentType="application/vnd.openxmlformats-officedocument.drawingml.chart+xml"/>
  <Override PartName="/ppt/tags/tag75.xml" ContentType="application/vnd.openxmlformats-officedocument.presentationml.tags+xml"/>
  <Override PartName="/ppt/charts/chart60.xml" ContentType="application/vnd.openxmlformats-officedocument.drawingml.chart+xml"/>
  <Override PartName="/ppt/tags/tag76.xml" ContentType="application/vnd.openxmlformats-officedocument.presentationml.tags+xml"/>
  <Override PartName="/ppt/charts/chart61.xml" ContentType="application/vnd.openxmlformats-officedocument.drawingml.chart+xml"/>
  <Override PartName="/ppt/tags/tag77.xml" ContentType="application/vnd.openxmlformats-officedocument.presentationml.tags+xml"/>
  <Override PartName="/ppt/charts/chart62.xml" ContentType="application/vnd.openxmlformats-officedocument.drawingml.chart+xml"/>
  <Override PartName="/ppt/tags/tag78.xml" ContentType="application/vnd.openxmlformats-officedocument.presentationml.tags+xml"/>
  <Override PartName="/ppt/charts/chart63.xml" ContentType="application/vnd.openxmlformats-officedocument.drawingml.chart+xml"/>
  <Override PartName="/ppt/tags/tag79.xml" ContentType="application/vnd.openxmlformats-officedocument.presentationml.tags+xml"/>
  <Override PartName="/ppt/notesSlides/notesSlide1.xml" ContentType="application/vnd.openxmlformats-officedocument.presentationml.notesSlide+xml"/>
  <Override PartName="/ppt/tags/tag80.xml" ContentType="application/vnd.openxmlformats-officedocument.presentationml.tags+xml"/>
  <Override PartName="/ppt/notesSlides/notesSlide2.xml" ContentType="application/vnd.openxmlformats-officedocument.presentationml.notesSlide+xml"/>
  <Override PartName="/ppt/tags/tag81.xml" ContentType="application/vnd.openxmlformats-officedocument.presentationml.tags+xml"/>
  <Override PartName="/ppt/notesSlides/notesSlide3.xml" ContentType="application/vnd.openxmlformats-officedocument.presentationml.notesSlide+xml"/>
  <Override PartName="/ppt/tags/tag82.xml" ContentType="application/vnd.openxmlformats-officedocument.presentationml.tags+xml"/>
  <Override PartName="/ppt/notesSlides/notesSlide4.xml" ContentType="application/vnd.openxmlformats-officedocument.presentationml.notesSlide+xml"/>
  <Override PartName="/ppt/tags/tag83.xml" ContentType="application/vnd.openxmlformats-officedocument.presentationml.tags+xml"/>
  <Override PartName="/ppt/notesSlides/notesSlide5.xml" ContentType="application/vnd.openxmlformats-officedocument.presentationml.notesSlide+xml"/>
  <Override PartName="/ppt/tags/tag84.xml" ContentType="application/vnd.openxmlformats-officedocument.presentationml.tags+xml"/>
  <Override PartName="/ppt/notesSlides/notesSlide6.xml" ContentType="application/vnd.openxmlformats-officedocument.presentationml.notesSlide+xml"/>
  <Override PartName="/ppt/tags/tag85.xml" ContentType="application/vnd.openxmlformats-officedocument.presentationml.tags+xml"/>
  <Override PartName="/ppt/notesSlides/notesSlide7.xml" ContentType="application/vnd.openxmlformats-officedocument.presentationml.notesSlide+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notesSlides/notesSlide10.xml" ContentType="application/vnd.openxmlformats-officedocument.presentationml.notesSlide+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notesSlides/notesSlide12.xml" ContentType="application/vnd.openxmlformats-officedocument.presentationml.notesSlide+xml"/>
  <Override PartName="/ppt/tags/tag91.xml" ContentType="application/vnd.openxmlformats-officedocument.presentationml.tags+xml"/>
  <Override PartName="/ppt/notesSlides/notesSlide13.xml" ContentType="application/vnd.openxmlformats-officedocument.presentationml.notesSlide+xml"/>
  <Override PartName="/ppt/charts/chart64.xml" ContentType="application/vnd.openxmlformats-officedocument.drawingml.chart+xml"/>
  <Override PartName="/ppt/charts/style1.xml" ContentType="application/vnd.ms-office.chartstyle+xml"/>
  <Override PartName="/ppt/charts/colors1.xml" ContentType="application/vnd.ms-office.chartcolorstyle+xml"/>
  <Override PartName="/ppt/tags/tag92.xml" ContentType="application/vnd.openxmlformats-officedocument.presentationml.tags+xml"/>
  <Override PartName="/ppt/notesSlides/notesSlide14.xml" ContentType="application/vnd.openxmlformats-officedocument.presentationml.notesSlide+xml"/>
  <Override PartName="/ppt/charts/chart65.xml" ContentType="application/vnd.openxmlformats-officedocument.drawingml.chart+xml"/>
  <Override PartName="/ppt/charts/style2.xml" ContentType="application/vnd.ms-office.chartstyle+xml"/>
  <Override PartName="/ppt/charts/colors2.xml" ContentType="application/vnd.ms-office.chartcolorstyle+xml"/>
  <Override PartName="/ppt/tags/tag93.xml" ContentType="application/vnd.openxmlformats-officedocument.presentationml.tags+xml"/>
  <Override PartName="/ppt/notesSlides/notesSlide15.xml" ContentType="application/vnd.openxmlformats-officedocument.presentationml.notesSlide+xml"/>
  <Override PartName="/ppt/charts/chart66.xml" ContentType="application/vnd.openxmlformats-officedocument.drawingml.chart+xml"/>
  <Override PartName="/ppt/charts/style3.xml" ContentType="application/vnd.ms-office.chartstyle+xml"/>
  <Override PartName="/ppt/charts/colors3.xml" ContentType="application/vnd.ms-office.chartcolorstyle+xml"/>
  <Override PartName="/ppt/tags/tag94.xml" ContentType="application/vnd.openxmlformats-officedocument.presentationml.tags+xml"/>
  <Override PartName="/ppt/notesSlides/notesSlide16.xml" ContentType="application/vnd.openxmlformats-officedocument.presentationml.notesSlide+xml"/>
  <Override PartName="/ppt/charts/chart67.xml" ContentType="application/vnd.openxmlformats-officedocument.drawingml.chart+xml"/>
  <Override PartName="/ppt/charts/style4.xml" ContentType="application/vnd.ms-office.chartstyle+xml"/>
  <Override PartName="/ppt/charts/colors4.xml" ContentType="application/vnd.ms-office.chartcolorstyle+xml"/>
  <Override PartName="/ppt/tags/tag95.xml" ContentType="application/vnd.openxmlformats-officedocument.presentationml.tags+xml"/>
  <Override PartName="/ppt/notesSlides/notesSlide17.xml" ContentType="application/vnd.openxmlformats-officedocument.presentationml.notesSlide+xml"/>
  <Override PartName="/ppt/charts/chart68.xml" ContentType="application/vnd.openxmlformats-officedocument.drawingml.chart+xml"/>
  <Override PartName="/ppt/charts/style5.xml" ContentType="application/vnd.ms-office.chartstyle+xml"/>
  <Override PartName="/ppt/charts/colors5.xml" ContentType="application/vnd.ms-office.chartcolorstyle+xml"/>
  <Override PartName="/ppt/tags/tag96.xml" ContentType="application/vnd.openxmlformats-officedocument.presentationml.tags+xml"/>
  <Override PartName="/ppt/notesSlides/notesSlide18.xml" ContentType="application/vnd.openxmlformats-officedocument.presentationml.notesSlide+xml"/>
  <Override PartName="/ppt/charts/chart69.xml" ContentType="application/vnd.openxmlformats-officedocument.drawingml.chart+xml"/>
  <Override PartName="/ppt/charts/style6.xml" ContentType="application/vnd.ms-office.chartstyle+xml"/>
  <Override PartName="/ppt/charts/colors6.xml" ContentType="application/vnd.ms-office.chartcolorstyle+xml"/>
  <Override PartName="/ppt/tags/tag97.xml" ContentType="application/vnd.openxmlformats-officedocument.presentationml.tags+xml"/>
  <Override PartName="/ppt/notesSlides/notesSlide19.xml" ContentType="application/vnd.openxmlformats-officedocument.presentationml.notesSlide+xml"/>
  <Override PartName="/ppt/charts/chart70.xml" ContentType="application/vnd.openxmlformats-officedocument.drawingml.chart+xml"/>
  <Override PartName="/ppt/charts/style7.xml" ContentType="application/vnd.ms-office.chartstyle+xml"/>
  <Override PartName="/ppt/charts/colors7.xml" ContentType="application/vnd.ms-office.chartcolorstyle+xml"/>
  <Override PartName="/ppt/tags/tag98.xml" ContentType="application/vnd.openxmlformats-officedocument.presentationml.tags+xml"/>
  <Override PartName="/ppt/notesSlides/notesSlide20.xml" ContentType="application/vnd.openxmlformats-officedocument.presentationml.notesSlide+xml"/>
  <Override PartName="/ppt/charts/chart71.xml" ContentType="application/vnd.openxmlformats-officedocument.drawingml.chart+xml"/>
  <Override PartName="/ppt/charts/style8.xml" ContentType="application/vnd.ms-office.chartstyle+xml"/>
  <Override PartName="/ppt/charts/colors8.xml" ContentType="application/vnd.ms-office.chartcolorstyle+xml"/>
  <Override PartName="/ppt/tags/tag99.xml" ContentType="application/vnd.openxmlformats-officedocument.presentationml.tags+xml"/>
  <Override PartName="/ppt/notesSlides/notesSlide21.xml" ContentType="application/vnd.openxmlformats-officedocument.presentationml.notesSlide+xml"/>
  <Override PartName="/ppt/charts/chart72.xml" ContentType="application/vnd.openxmlformats-officedocument.drawingml.chart+xml"/>
  <Override PartName="/ppt/charts/style9.xml" ContentType="application/vnd.ms-office.chartstyle+xml"/>
  <Override PartName="/ppt/charts/colors9.xml" ContentType="application/vnd.ms-office.chartcolorstyle+xml"/>
  <Override PartName="/ppt/tags/tag100.xml" ContentType="application/vnd.openxmlformats-officedocument.presentationml.tags+xml"/>
  <Override PartName="/ppt/notesSlides/notesSlide22.xml" ContentType="application/vnd.openxmlformats-officedocument.presentationml.notesSlide+xml"/>
  <Override PartName="/ppt/charts/chart73.xml" ContentType="application/vnd.openxmlformats-officedocument.drawingml.chart+xml"/>
  <Override PartName="/ppt/charts/style10.xml" ContentType="application/vnd.ms-office.chartstyle+xml"/>
  <Override PartName="/ppt/charts/colors10.xml" ContentType="application/vnd.ms-office.chartcolorstyle+xml"/>
  <Override PartName="/ppt/tags/tag101.xml" ContentType="application/vnd.openxmlformats-officedocument.presentationml.tags+xml"/>
  <Override PartName="/ppt/notesSlides/notesSlide23.xml" ContentType="application/vnd.openxmlformats-officedocument.presentationml.notesSlide+xml"/>
  <Override PartName="/ppt/charts/chart74.xml" ContentType="application/vnd.openxmlformats-officedocument.drawingml.chart+xml"/>
  <Override PartName="/ppt/charts/style11.xml" ContentType="application/vnd.ms-office.chartstyle+xml"/>
  <Override PartName="/ppt/charts/colors11.xml" ContentType="application/vnd.ms-office.chartcolorstyle+xml"/>
  <Override PartName="/ppt/tags/tag102.xml" ContentType="application/vnd.openxmlformats-officedocument.presentationml.tags+xml"/>
  <Override PartName="/ppt/notesSlides/notesSlide24.xml" ContentType="application/vnd.openxmlformats-officedocument.presentationml.notesSlide+xml"/>
  <Override PartName="/ppt/charts/chart75.xml" ContentType="application/vnd.openxmlformats-officedocument.drawingml.chart+xml"/>
  <Override PartName="/ppt/charts/style12.xml" ContentType="application/vnd.ms-office.chartstyle+xml"/>
  <Override PartName="/ppt/charts/colors12.xml" ContentType="application/vnd.ms-office.chartcolorstyle+xml"/>
  <Override PartName="/ppt/tags/tag103.xml" ContentType="application/vnd.openxmlformats-officedocument.presentationml.tags+xml"/>
  <Override PartName="/ppt/notesSlides/notesSlide25.xml" ContentType="application/vnd.openxmlformats-officedocument.presentationml.notesSlide+xml"/>
  <Override PartName="/ppt/charts/chart76.xml" ContentType="application/vnd.openxmlformats-officedocument.drawingml.chart+xml"/>
  <Override PartName="/ppt/charts/style13.xml" ContentType="application/vnd.ms-office.chartstyle+xml"/>
  <Override PartName="/ppt/charts/colors13.xml" ContentType="application/vnd.ms-office.chartcolorstyle+xml"/>
  <Override PartName="/ppt/tags/tag104.xml" ContentType="application/vnd.openxmlformats-officedocument.presentationml.tags+xml"/>
  <Override PartName="/ppt/notesSlides/notesSlide26.xml" ContentType="application/vnd.openxmlformats-officedocument.presentationml.notesSlide+xml"/>
  <Override PartName="/ppt/charts/chart77.xml" ContentType="application/vnd.openxmlformats-officedocument.drawingml.chart+xml"/>
  <Override PartName="/ppt/charts/style14.xml" ContentType="application/vnd.ms-office.chartstyle+xml"/>
  <Override PartName="/ppt/charts/colors14.xml" ContentType="application/vnd.ms-office.chartcolorstyle+xml"/>
  <Override PartName="/ppt/tags/tag105.xml" ContentType="application/vnd.openxmlformats-officedocument.presentationml.tags+xml"/>
  <Override PartName="/ppt/notesSlides/notesSlide27.xml" ContentType="application/vnd.openxmlformats-officedocument.presentationml.notesSlide+xml"/>
  <Override PartName="/ppt/charts/chart78.xml" ContentType="application/vnd.openxmlformats-officedocument.drawingml.chart+xml"/>
  <Override PartName="/ppt/charts/style15.xml" ContentType="application/vnd.ms-office.chartstyle+xml"/>
  <Override PartName="/ppt/charts/colors15.xml" ContentType="application/vnd.ms-office.chartcolorstyle+xml"/>
  <Override PartName="/ppt/tags/tag106.xml" ContentType="application/vnd.openxmlformats-officedocument.presentationml.tags+xml"/>
  <Override PartName="/ppt/notesSlides/notesSlide28.xml" ContentType="application/vnd.openxmlformats-officedocument.presentationml.notesSlide+xml"/>
  <Override PartName="/ppt/charts/chart79.xml" ContentType="application/vnd.openxmlformats-officedocument.drawingml.chart+xml"/>
  <Override PartName="/ppt/charts/style16.xml" ContentType="application/vnd.ms-office.chartstyle+xml"/>
  <Override PartName="/ppt/charts/colors16.xml" ContentType="application/vnd.ms-office.chartcolorstyle+xml"/>
  <Override PartName="/ppt/tags/tag107.xml" ContentType="application/vnd.openxmlformats-officedocument.presentationml.tags+xml"/>
  <Override PartName="/ppt/notesSlides/notesSlide29.xml" ContentType="application/vnd.openxmlformats-officedocument.presentationml.notesSlide+xml"/>
  <Override PartName="/ppt/charts/chart80.xml" ContentType="application/vnd.openxmlformats-officedocument.drawingml.chart+xml"/>
  <Override PartName="/ppt/charts/style17.xml" ContentType="application/vnd.ms-office.chartstyle+xml"/>
  <Override PartName="/ppt/charts/colors17.xml" ContentType="application/vnd.ms-office.chartcolorstyle+xml"/>
  <Override PartName="/ppt/tags/tag108.xml" ContentType="application/vnd.openxmlformats-officedocument.presentationml.tags+xml"/>
  <Override PartName="/ppt/notesSlides/notesSlide30.xml" ContentType="application/vnd.openxmlformats-officedocument.presentationml.notesSlide+xml"/>
  <Override PartName="/ppt/charts/chart81.xml" ContentType="application/vnd.openxmlformats-officedocument.drawingml.chart+xml"/>
  <Override PartName="/ppt/charts/style18.xml" ContentType="application/vnd.ms-office.chartstyle+xml"/>
  <Override PartName="/ppt/charts/colors18.xml" ContentType="application/vnd.ms-office.chartcolorstyle+xml"/>
  <Override PartName="/ppt/tags/tag109.xml" ContentType="application/vnd.openxmlformats-officedocument.presentationml.tags+xml"/>
  <Override PartName="/ppt/notesSlides/notesSlide31.xml" ContentType="application/vnd.openxmlformats-officedocument.presentationml.notesSlide+xml"/>
  <Override PartName="/ppt/charts/chart82.xml" ContentType="application/vnd.openxmlformats-officedocument.drawingml.chart+xml"/>
  <Override PartName="/ppt/charts/style19.xml" ContentType="application/vnd.ms-office.chartstyle+xml"/>
  <Override PartName="/ppt/charts/colors19.xml" ContentType="application/vnd.ms-office.chartcolorstyle+xml"/>
  <Override PartName="/ppt/tags/tag110.xml" ContentType="application/vnd.openxmlformats-officedocument.presentationml.tags+xml"/>
  <Override PartName="/ppt/notesSlides/notesSlide32.xml" ContentType="application/vnd.openxmlformats-officedocument.presentationml.notesSlide+xml"/>
  <Override PartName="/ppt/charts/chart83.xml" ContentType="application/vnd.openxmlformats-officedocument.drawingml.chart+xml"/>
  <Override PartName="/ppt/charts/style20.xml" ContentType="application/vnd.ms-office.chartstyle+xml"/>
  <Override PartName="/ppt/charts/colors20.xml" ContentType="application/vnd.ms-office.chartcolorstyle+xml"/>
  <Override PartName="/ppt/tags/tag111.xml" ContentType="application/vnd.openxmlformats-officedocument.presentationml.tags+xml"/>
  <Override PartName="/ppt/notesSlides/notesSlide33.xml" ContentType="application/vnd.openxmlformats-officedocument.presentationml.notesSlide+xml"/>
  <Override PartName="/ppt/charts/chart84.xml" ContentType="application/vnd.openxmlformats-officedocument.drawingml.chart+xml"/>
  <Override PartName="/ppt/charts/style21.xml" ContentType="application/vnd.ms-office.chartstyle+xml"/>
  <Override PartName="/ppt/charts/colors21.xml" ContentType="application/vnd.ms-office.chartcolorstyle+xml"/>
  <Override PartName="/ppt/tags/tag112.xml" ContentType="application/vnd.openxmlformats-officedocument.presentationml.tags+xml"/>
  <Override PartName="/ppt/notesSlides/notesSlide34.xml" ContentType="application/vnd.openxmlformats-officedocument.presentationml.notesSlide+xml"/>
  <Override PartName="/ppt/charts/chart85.xml" ContentType="application/vnd.openxmlformats-officedocument.drawingml.chart+xml"/>
  <Override PartName="/ppt/charts/style22.xml" ContentType="application/vnd.ms-office.chartstyle+xml"/>
  <Override PartName="/ppt/charts/colors22.xml" ContentType="application/vnd.ms-office.chartcolorstyle+xml"/>
  <Override PartName="/ppt/tags/tag113.xml" ContentType="application/vnd.openxmlformats-officedocument.presentationml.tags+xml"/>
  <Override PartName="/ppt/notesSlides/notesSlide35.xml" ContentType="application/vnd.openxmlformats-officedocument.presentationml.notesSlide+xml"/>
  <Override PartName="/ppt/charts/chart86.xml" ContentType="application/vnd.openxmlformats-officedocument.drawingml.chart+xml"/>
  <Override PartName="/ppt/charts/style23.xml" ContentType="application/vnd.ms-office.chartstyle+xml"/>
  <Override PartName="/ppt/charts/colors23.xml" ContentType="application/vnd.ms-office.chartcolorstyle+xml"/>
  <Override PartName="/ppt/tags/tag114.xml" ContentType="application/vnd.openxmlformats-officedocument.presentationml.tags+xml"/>
  <Override PartName="/ppt/notesSlides/notesSlide36.xml" ContentType="application/vnd.openxmlformats-officedocument.presentationml.notesSlide+xml"/>
  <Override PartName="/ppt/charts/chart87.xml" ContentType="application/vnd.openxmlformats-officedocument.drawingml.chart+xml"/>
  <Override PartName="/ppt/charts/style24.xml" ContentType="application/vnd.ms-office.chartstyle+xml"/>
  <Override PartName="/ppt/charts/colors24.xml" ContentType="application/vnd.ms-office.chartcolorstyle+xml"/>
  <Override PartName="/ppt/tags/tag115.xml" ContentType="application/vnd.openxmlformats-officedocument.presentationml.tags+xml"/>
  <Override PartName="/ppt/notesSlides/notesSlide37.xml" ContentType="application/vnd.openxmlformats-officedocument.presentationml.notesSlide+xml"/>
  <Override PartName="/ppt/charts/chart88.xml" ContentType="application/vnd.openxmlformats-officedocument.drawingml.chart+xml"/>
  <Override PartName="/ppt/charts/style25.xml" ContentType="application/vnd.ms-office.chartstyle+xml"/>
  <Override PartName="/ppt/charts/colors25.xml" ContentType="application/vnd.ms-office.chartcolorstyle+xml"/>
  <Override PartName="/ppt/tags/tag116.xml" ContentType="application/vnd.openxmlformats-officedocument.presentationml.tags+xml"/>
  <Override PartName="/ppt/notesSlides/notesSlide38.xml" ContentType="application/vnd.openxmlformats-officedocument.presentationml.notesSlide+xml"/>
  <Override PartName="/ppt/charts/chart89.xml" ContentType="application/vnd.openxmlformats-officedocument.drawingml.chart+xml"/>
  <Override PartName="/ppt/charts/style26.xml" ContentType="application/vnd.ms-office.chartstyle+xml"/>
  <Override PartName="/ppt/charts/colors26.xml" ContentType="application/vnd.ms-office.chartcolorstyle+xml"/>
  <Override PartName="/ppt/tags/tag117.xml" ContentType="application/vnd.openxmlformats-officedocument.presentationml.tags+xml"/>
  <Override PartName="/ppt/notesSlides/notesSlide39.xml" ContentType="application/vnd.openxmlformats-officedocument.presentationml.notesSlide+xml"/>
  <Override PartName="/ppt/charts/chart90.xml" ContentType="application/vnd.openxmlformats-officedocument.drawingml.chart+xml"/>
  <Override PartName="/ppt/charts/style27.xml" ContentType="application/vnd.ms-office.chartstyle+xml"/>
  <Override PartName="/ppt/charts/colors27.xml" ContentType="application/vnd.ms-office.chartcolorstyle+xml"/>
  <Override PartName="/ppt/tags/tag118.xml" ContentType="application/vnd.openxmlformats-officedocument.presentationml.tags+xml"/>
  <Override PartName="/ppt/notesSlides/notesSlide40.xml" ContentType="application/vnd.openxmlformats-officedocument.presentationml.notesSlide+xml"/>
  <Override PartName="/ppt/charts/chart91.xml" ContentType="application/vnd.openxmlformats-officedocument.drawingml.chart+xml"/>
  <Override PartName="/ppt/charts/style28.xml" ContentType="application/vnd.ms-office.chartstyle+xml"/>
  <Override PartName="/ppt/charts/colors28.xml" ContentType="application/vnd.ms-office.chartcolorstyle+xml"/>
  <Override PartName="/ppt/tags/tag119.xml" ContentType="application/vnd.openxmlformats-officedocument.presentationml.tags+xml"/>
  <Override PartName="/ppt/notesSlides/notesSlide41.xml" ContentType="application/vnd.openxmlformats-officedocument.presentationml.notesSlide+xml"/>
  <Override PartName="/ppt/charts/chart92.xml" ContentType="application/vnd.openxmlformats-officedocument.drawingml.chart+xml"/>
  <Override PartName="/ppt/charts/style29.xml" ContentType="application/vnd.ms-office.chartstyle+xml"/>
  <Override PartName="/ppt/charts/colors29.xml" ContentType="application/vnd.ms-office.chartcolorstyle+xml"/>
  <Override PartName="/ppt/tags/tag120.xml" ContentType="application/vnd.openxmlformats-officedocument.presentationml.tags+xml"/>
  <Override PartName="/ppt/notesSlides/notesSlide42.xml" ContentType="application/vnd.openxmlformats-officedocument.presentationml.notesSlide+xml"/>
  <Override PartName="/ppt/charts/chart93.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8"/>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0846BC32-FF2C-4304-BC36-514C452405BE}">
          <p14:sldIdLst>
            <p14:sldId id="2147477365"/>
            <p14:sldId id="2147477366"/>
            <p14:sldId id="2147477367"/>
          </p14:sldIdLst>
        </p14:section>
        <p14:section name="Price Positioning Summary Sector" id="{0F0E4209-F686-4011-9A30-899DE84680F2}">
          <p14:sldIdLst>
            <p14:sldId id="2147477368"/>
            <p14:sldId id="2147477369"/>
            <p14:sldId id="2147477370"/>
          </p14:sldIdLst>
        </p14:section>
        <p14:section name="Price Positioning Summary Segment" id="{2D7EF798-1688-4025-A4C1-4066C7380191}">
          <p14:sldIdLst>
            <p14:sldId id="2147477371"/>
            <p14:sldId id="2147477372"/>
            <p14:sldId id="2147477373"/>
          </p14:sldIdLst>
        </p14:section>
        <p14:section name="Price Positioning Analysis By Brands" id="{92365C6E-00E6-432D-952C-C061C1958DF6}">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Lst>
        </p14:section>
        <p14:section name="Price Positioning Analysis By Manufacturer" id="{78618E09-A59D-43D2-B036-7DDA29F2FC03}">
          <p14:sldIdLst>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Lst>
        </p14:section>
        <p14:section name="Sectors Share and Growth By Brands" id="{EA66DAD0-7EFE-4E34-92C6-2626DB1F9587}">
          <p14:sldIdLst>
            <p14:sldId id="2147477416"/>
            <p14:sldId id="2147477417"/>
            <p14:sldId id="2147477418"/>
          </p14:sldIdLst>
        </p14:section>
        <p14:section name="Segments Share and Growth By Brands" id="{C26FA218-1541-4C92-B0F8-F98917D2FA3C}">
          <p14:sldIdLst>
            <p14:sldId id="2147477419"/>
            <p14:sldId id="2147477420"/>
            <p14:sldId id="2147477421"/>
          </p14:sldIdLst>
        </p14:section>
        <p14:section name="Sectors Share and Growth By Manufacturer" id="{F6A65CB7-2CB2-4C4C-A786-56BCEF4D3BF7}">
          <p14:sldIdLst>
            <p14:sldId id="2147477422"/>
            <p14:sldId id="2147477423"/>
            <p14:sldId id="2147477424"/>
          </p14:sldIdLst>
        </p14:section>
        <p14:section name="Segments Share and Growth By Manufacturer" id="{D4317EEB-C081-4946-9417-319D370DE2F7}">
          <p14:sldIdLst>
            <p14:sldId id="2147477425"/>
            <p14:sldId id="2147477426"/>
            <p14:sldId id="2147477427"/>
          </p14:sldIdLst>
        </p14:section>
        <p14:section name="Sec/Seg Value Sales Vs Avg Price By Manufacturer" id="{5D7B555B-8E31-4D2B-B48B-44EB6F6DA229}">
          <p14:sldIdLst>
            <p14:sldId id="2147477428"/>
            <p14:sldId id="2147477429"/>
            <p14:sldId id="2147477430"/>
          </p14:sldIdLst>
        </p14:section>
        <p14:section name="Sec/Seg Value Sales Vs Avg Price" id="{1AEE0C9C-343E-4FC7-8AA3-F9FE9F9B54EB}">
          <p14:sldIdLst>
            <p14:sldId id="2147477431"/>
            <p14:sldId id="2147477432"/>
            <p14:sldId id="2147477433"/>
            <p14:sldId id="2147477434"/>
            <p14:sldId id="2147477435"/>
            <p14:sldId id="2147477436"/>
            <p14:sldId id="2147477437"/>
            <p14:sldId id="2147477438"/>
            <p14:sldId id="2147477439"/>
          </p14:sldIdLst>
        </p14:section>
        <p14:section name="Sectors Value Sales Vs Avg Price" id="{2B375B82-BB37-48F2-9765-46AD1DFDF521}">
          <p14:sldIdLst>
            <p14:sldId id="2147477440"/>
            <p14:sldId id="2147477441"/>
            <p14:sldId id="2147477442"/>
            <p14:sldId id="2147477443"/>
            <p14:sldId id="2147477444"/>
            <p14:sldId id="2147477445"/>
            <p14:sldId id="2147477446"/>
            <p14:sldId id="2147477447"/>
            <p14:sldId id="2147477448"/>
          </p14:sldIdLst>
        </p14:section>
        <p14:section name="Segment Value Sales Vs Avg Price" id="{F35429BF-2833-4518-BE65-B14DAF6B2046}">
          <p14:sldIdLst>
            <p14:sldId id="2147477449"/>
            <p14:sldId id="2147477450"/>
            <p14:sldId id="2147477451"/>
            <p14:sldId id="2147477452"/>
            <p14:sldId id="2147477453"/>
            <p14:sldId id="2147477454"/>
            <p14:sldId id="2147477455"/>
            <p14:sldId id="2147477456"/>
            <p14:sldId id="214747745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xml"/><Relationship Id="rId1" Type="http://schemas.microsoft.com/office/2011/relationships/chartStyle" Target="style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2.xml"/><Relationship Id="rId1" Type="http://schemas.microsoft.com/office/2011/relationships/chartStyle" Target="style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3.xml"/><Relationship Id="rId1" Type="http://schemas.microsoft.com/office/2011/relationships/chartStyle" Target="style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4.xml"/><Relationship Id="rId1" Type="http://schemas.microsoft.com/office/2011/relationships/chartStyle" Target="style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5.xml"/><Relationship Id="rId1" Type="http://schemas.microsoft.com/office/2011/relationships/chartStyle" Target="style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xml"/><Relationship Id="rId1" Type="http://schemas.microsoft.com/office/2011/relationships/chartStyle" Target="style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8.xml"/><Relationship Id="rId1" Type="http://schemas.microsoft.com/office/2011/relationships/chartStyle" Target="style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9.xml"/><Relationship Id="rId1" Type="http://schemas.microsoft.com/office/2011/relationships/chartStyle" Target="style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0.xml"/><Relationship Id="rId1" Type="http://schemas.microsoft.com/office/2011/relationships/chartStyle" Target="style1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11.xml"/><Relationship Id="rId1" Type="http://schemas.microsoft.com/office/2011/relationships/chartStyle" Target="style1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12.xml"/><Relationship Id="rId1" Type="http://schemas.microsoft.com/office/2011/relationships/chartStyle" Target="style1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13.xml"/><Relationship Id="rId1" Type="http://schemas.microsoft.com/office/2011/relationships/chartStyle" Target="style1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14.xml"/><Relationship Id="rId1" Type="http://schemas.microsoft.com/office/2011/relationships/chartStyle" Target="style14.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15.xml"/><Relationship Id="rId1" Type="http://schemas.microsoft.com/office/2011/relationships/chartStyle" Target="style15.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16.xml"/><Relationship Id="rId1" Type="http://schemas.microsoft.com/office/2011/relationships/chartStyle" Target="style1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17.xml"/><Relationship Id="rId1" Type="http://schemas.microsoft.com/office/2011/relationships/chartStyle" Target="style17.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18.xml"/><Relationship Id="rId1" Type="http://schemas.microsoft.com/office/2011/relationships/chartStyle" Target="style18.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9.xml"/><Relationship Id="rId1" Type="http://schemas.microsoft.com/office/2011/relationships/chartStyle" Target="style19.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0.xml"/><Relationship Id="rId1" Type="http://schemas.microsoft.com/office/2011/relationships/chartStyle" Target="style20.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21.xml"/><Relationship Id="rId1" Type="http://schemas.microsoft.com/office/2011/relationships/chartStyle" Target="style21.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22.xml"/><Relationship Id="rId1" Type="http://schemas.microsoft.com/office/2011/relationships/chartStyle" Target="style22.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23.xml"/><Relationship Id="rId1" Type="http://schemas.microsoft.com/office/2011/relationships/chartStyle" Target="style23.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24.xml"/><Relationship Id="rId1" Type="http://schemas.microsoft.com/office/2011/relationships/chartStyle" Target="style24.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25.xml"/><Relationship Id="rId1" Type="http://schemas.microsoft.com/office/2011/relationships/chartStyle" Target="style25.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26.xml"/><Relationship Id="rId1" Type="http://schemas.microsoft.com/office/2011/relationships/chartStyle" Target="style26.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27.xml"/><Relationship Id="rId1" Type="http://schemas.microsoft.com/office/2011/relationships/chartStyle" Target="style27.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28.xml"/><Relationship Id="rId1" Type="http://schemas.microsoft.com/office/2011/relationships/chartStyle" Target="style28.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29.xml"/><Relationship Id="rId1" Type="http://schemas.microsoft.com/office/2011/relationships/chartStyle" Target="style29.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30.xml"/><Relationship Id="rId1" Type="http://schemas.microsoft.com/office/2011/relationships/chartStyle" Target="style3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785018-3B98-407C-88FC-5A8FBDCCD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F2B020C-6F37-468B-A01C-8DFF02CB1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5B8615-1459-4524-879F-564ECF174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F41895-65D1-45B4-9F0F-43875B94A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66C998-9535-422F-8CE7-C3D6A6BE06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9D63B7A-7BD6-4F6A-BDD3-EBFCCF0EE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898BD6-3406-4003-9463-9C57310A7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6C8D7AC-6E8B-466F-B795-A4760E62E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707999999999999</c:v>
                </c:pt>
                <c:pt idx="1">
                  <c:v>2.5295000000000001</c:v>
                </c:pt>
                <c:pt idx="2">
                  <c:v>2.7004000000000001</c:v>
                </c:pt>
                <c:pt idx="3">
                  <c:v>2.8982999999999999</c:v>
                </c:pt>
                <c:pt idx="4">
                  <c:v>3.3340999999999998</c:v>
                </c:pt>
                <c:pt idx="5">
                  <c:v>3.1894</c:v>
                </c:pt>
                <c:pt idx="6">
                  <c:v>2.9792000000000001</c:v>
                </c:pt>
                <c:pt idx="7">
                  <c:v>2.4716999999999998</c:v>
                </c:pt>
              </c:numCache>
            </c:numRef>
          </c:xVal>
          <c:yVal>
            <c:numRef>
              <c:f>Sheet1!$B$2:$B$9</c:f>
              <c:numCache>
                <c:formatCode>General</c:formatCode>
                <c:ptCount val="8"/>
                <c:pt idx="0">
                  <c:v>0.86599999999999999</c:v>
                </c:pt>
                <c:pt idx="1">
                  <c:v>0.88500000000000001</c:v>
                </c:pt>
                <c:pt idx="2">
                  <c:v>1.0760000000000001</c:v>
                </c:pt>
                <c:pt idx="3">
                  <c:v>1.1339999999999999</c:v>
                </c:pt>
                <c:pt idx="4">
                  <c:v>1.2909999999999999</c:v>
                </c:pt>
                <c:pt idx="5">
                  <c:v>0.89</c:v>
                </c:pt>
                <c:pt idx="6">
                  <c:v>1.1259999999999999</c:v>
                </c:pt>
                <c:pt idx="7">
                  <c:v>1.4450000000000001</c:v>
                </c:pt>
              </c:numCache>
            </c:numRef>
          </c:yVal>
          <c:bubbleSize>
            <c:numRef>
              <c:f>Sheet1!$C$2:$C$9</c:f>
              <c:numCache>
                <c:formatCode>General</c:formatCode>
                <c:ptCount val="8"/>
                <c:pt idx="0">
                  <c:v>3555101229</c:v>
                </c:pt>
                <c:pt idx="1">
                  <c:v>441401234</c:v>
                </c:pt>
                <c:pt idx="2">
                  <c:v>212784778</c:v>
                </c:pt>
                <c:pt idx="3">
                  <c:v>198815524</c:v>
                </c:pt>
                <c:pt idx="4">
                  <c:v>194491569</c:v>
                </c:pt>
                <c:pt idx="5">
                  <c:v>149020607</c:v>
                </c:pt>
                <c:pt idx="6">
                  <c:v>115028964</c:v>
                </c:pt>
                <c:pt idx="7">
                  <c:v>10297069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Entremon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143176-D556-4840-9C06-DC727AC48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BF216F6-D772-47FC-8D3A-71FC44660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42B85A-227B-41B9-B5DA-27C49741B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7512CC-010E-4C3E-B978-920E467CF4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F0DB58-460F-4A94-B542-75599A462A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F55174-6E85-4366-9424-9C2769B4D7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DC432C-FEA4-4D68-A4DE-F290200C9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F2E53C7-4BC5-4A77-A4FB-CCDC14AA4B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3565</c:v>
                </c:pt>
                <c:pt idx="2">
                  <c:v>2.7509000000000001</c:v>
                </c:pt>
                <c:pt idx="3">
                  <c:v>2.9500999999999999</c:v>
                </c:pt>
                <c:pt idx="4">
                  <c:v>3.3361999999999998</c:v>
                </c:pt>
                <c:pt idx="5">
                  <c:v>3.3645999999999998</c:v>
                </c:pt>
                <c:pt idx="6">
                  <c:v>3.0628000000000002</c:v>
                </c:pt>
                <c:pt idx="7">
                  <c:v>2.4135</c:v>
                </c:pt>
              </c:numCache>
            </c:numRef>
          </c:xVal>
          <c:yVal>
            <c:numRef>
              <c:f>Sheet1!$B$2:$B$9</c:f>
              <c:numCache>
                <c:formatCode>General</c:formatCode>
                <c:ptCount val="8"/>
                <c:pt idx="0">
                  <c:v>0.83699999999999997</c:v>
                </c:pt>
                <c:pt idx="1">
                  <c:v>0.83899999999999997</c:v>
                </c:pt>
                <c:pt idx="2">
                  <c:v>1.0860000000000001</c:v>
                </c:pt>
                <c:pt idx="3">
                  <c:v>1.1259999999999999</c:v>
                </c:pt>
                <c:pt idx="4">
                  <c:v>1.2210000000000001</c:v>
                </c:pt>
                <c:pt idx="5">
                  <c:v>0.96499999999999997</c:v>
                </c:pt>
                <c:pt idx="6">
                  <c:v>1.2070000000000001</c:v>
                </c:pt>
                <c:pt idx="7">
                  <c:v>1.365</c:v>
                </c:pt>
              </c:numCache>
            </c:numRef>
          </c:yVal>
          <c:bubbleSize>
            <c:numRef>
              <c:f>Sheet1!$C$2:$C$9</c:f>
              <c:numCache>
                <c:formatCode>General</c:formatCode>
                <c:ptCount val="8"/>
                <c:pt idx="0">
                  <c:v>189926117</c:v>
                </c:pt>
                <c:pt idx="1">
                  <c:v>39277810</c:v>
                </c:pt>
                <c:pt idx="2">
                  <c:v>33117229</c:v>
                </c:pt>
                <c:pt idx="3">
                  <c:v>30253337</c:v>
                </c:pt>
                <c:pt idx="4">
                  <c:v>29411346</c:v>
                </c:pt>
                <c:pt idx="5">
                  <c:v>22557022</c:v>
                </c:pt>
                <c:pt idx="6">
                  <c:v>17199711</c:v>
                </c:pt>
                <c:pt idx="7">
                  <c:v>1580184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4BB5A6B-8CF1-4920-94E0-CF51CAD574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88D39EF-E78D-463E-8B4C-35597FDEC8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757600DE-A9F5-4C7D-A578-35CEF7BBC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DECA149-BA4D-457D-BA69-363931F28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900E9AB-C4BC-4671-9EE0-41467DF22F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A85C07D-8853-458A-B98D-4A8809ED1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F52792D0-8ABB-4000-965B-CBB9C6780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F50B5C14-F877-4186-9C09-634D9ADFE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60000000000001</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8904C03D-528F-4661-A5F5-2DF81FDA3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C178F0C-1F77-4BF1-86B3-81948E0AF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63F191D-F20F-4A50-89E6-B2392D9762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F337EE9-DE10-4BD5-9C21-970F0DC7A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4F25350-2132-4145-9D5B-F42CE912B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E1FF864E-B668-4A79-B0B1-3FF41EEAF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493F1011-DE8B-4F7D-9BA4-E31ECECCE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744ED86-3478-416A-8588-E62E06765E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62000000000001</c:v>
                </c:pt>
                <c:pt idx="1">
                  <c:v>2.0152000000000001</c:v>
                </c:pt>
                <c:pt idx="2">
                  <c:v>3.7374999999999998</c:v>
                </c:pt>
                <c:pt idx="3">
                  <c:v>3.7753000000000001</c:v>
                </c:pt>
                <c:pt idx="4">
                  <c:v>2.641</c:v>
                </c:pt>
                <c:pt idx="5">
                  <c:v>1.556</c:v>
                </c:pt>
              </c:numCache>
            </c:numRef>
          </c:xVal>
          <c:yVal>
            <c:numRef>
              <c:f>Sheet1!$B$2:$B$7</c:f>
              <c:numCache>
                <c:formatCode>General</c:formatCode>
                <c:ptCount val="6"/>
                <c:pt idx="0">
                  <c:v>0.84199999999999997</c:v>
                </c:pt>
                <c:pt idx="1">
                  <c:v>1.073</c:v>
                </c:pt>
                <c:pt idx="2">
                  <c:v>1.5489999999999999</c:v>
                </c:pt>
                <c:pt idx="3">
                  <c:v>1.458</c:v>
                </c:pt>
                <c:pt idx="4">
                  <c:v>1.4239999999999999</c:v>
                </c:pt>
                <c:pt idx="5">
                  <c:v>1.1080000000000001</c:v>
                </c:pt>
              </c:numCache>
            </c:numRef>
          </c:yVal>
          <c:bubbleSize>
            <c:numRef>
              <c:f>Sheet1!$C$2:$C$7</c:f>
              <c:numCache>
                <c:formatCode>General</c:formatCode>
                <c:ptCount val="6"/>
                <c:pt idx="0">
                  <c:v>16108620</c:v>
                </c:pt>
                <c:pt idx="1">
                  <c:v>12774315</c:v>
                </c:pt>
                <c:pt idx="2">
                  <c:v>2517046</c:v>
                </c:pt>
                <c:pt idx="3">
                  <c:v>1100140</c:v>
                </c:pt>
                <c:pt idx="4">
                  <c:v>708899</c:v>
                </c:pt>
                <c:pt idx="5">
                  <c:v>105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0F698E-B763-4548-96C7-82BAFE3C6E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86DFC8-A0FC-4D8E-9A09-5C39586AC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48944F-6E44-4240-9BB1-4370ADEDD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813BA8-F1B3-4B74-A764-3D15DF60F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E47A1A-6B7B-4EA9-B482-E5DC4C1F2B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611CC1-42F2-4722-B032-BE71A99BC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0BA639D-41B0-4ACF-B741-F58AD8D107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E010E06-64D6-465D-B632-092BB68A4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1EF4AE3-C2B3-480E-A013-875408D4D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912754D-372A-400C-AEFC-3755922AE5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E082015-8EE9-49CB-9080-AD5C5AD89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75C0A58-55CF-4E40-808C-3ADC4F37D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09D2BB7-3131-4903-9E9A-CDF5127ED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0BF0E0A5-3C90-4922-96C7-AC430BA260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4D5BE26-158B-497E-BEFD-B8D9995145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E10B3FE-1143-4B42-BE17-FBC23BA57E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5592999999999999</c:v>
                </c:pt>
                <c:pt idx="7">
                  <c:v>8.8888999999999996</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5149999999999999</c:v>
                </c:pt>
                <c:pt idx="7">
                  <c:v>0.80100000000000005</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5842132</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6A5A7886-71E4-4941-B6E5-D8F634A62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191C1F5E-FF71-4B1E-B1C3-23EFFC03C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D83B0645-09BC-4191-87EB-4A472EC34A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2218A27-2148-4C31-9103-0F0B27180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7E1349F-8FA2-477C-BEC0-C7E938361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8286A70C-8B96-499A-BF19-305C1578F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E9853EE4-BEFA-4FEF-9B7E-84CE2F145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D14DCF4F-8876-465E-9D45-6E81B021E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100000000000003</c:v>
                </c:pt>
                <c:pt idx="1">
                  <c:v>1.0169999999999999</c:v>
                </c:pt>
                <c:pt idx="2">
                  <c:v>1.163</c:v>
                </c:pt>
                <c:pt idx="3">
                  <c:v>1.099</c:v>
                </c:pt>
                <c:pt idx="4">
                  <c:v>1.5089999999999999</c:v>
                </c:pt>
                <c:pt idx="5">
                  <c:v>1.514</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609DB1-27C2-4A17-A584-AA9F05046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AC2A02-BA06-4257-BFCF-4C54B87BD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1DB103A-89DF-42FF-A377-F3BA9C777B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EBBAD6-81FD-491C-B7CC-151C31F3E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9D396B-B29E-44BC-A455-96F47B799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E001D8C-6BFD-4351-AF22-A694AE7E6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06A2B5-EF0B-405B-905C-0F6CF6AA8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BCE26CD-C411-4ED5-AC08-14FDD13CF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BD36565-07A7-4C5F-ABAD-5EF940103C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0DE7241-C0CB-485F-A2C4-48ACF87AF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9736AAE-8053-4D73-A746-A207E2BF8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E53A594D-0D24-4861-AF97-6D036BD5D6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5CDA14C4-9193-4460-8665-A8545E2F6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4CBB245-9B57-4DFE-81C0-C76538AE09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3FEAA1A-1D45-4E1F-84D8-4307F02C8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67D7E4E-1D2D-40D1-8DAF-9E106B5D4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144000000000002</c:v>
                </c:pt>
                <c:pt idx="1">
                  <c:v>1.6611</c:v>
                </c:pt>
                <c:pt idx="2">
                  <c:v>2.5226999999999999</c:v>
                </c:pt>
                <c:pt idx="3">
                  <c:v>2.3923999999999999</c:v>
                </c:pt>
                <c:pt idx="4">
                  <c:v>2.4001999999999999</c:v>
                </c:pt>
                <c:pt idx="5">
                  <c:v>2.4596</c:v>
                </c:pt>
                <c:pt idx="6">
                  <c:v>2.6608000000000001</c:v>
                </c:pt>
                <c:pt idx="7">
                  <c:v>8.8888999999999996</c:v>
                </c:pt>
              </c:numCache>
            </c:numRef>
          </c:xVal>
          <c:yVal>
            <c:numRef>
              <c:f>Sheet1!$B$2:$B$9</c:f>
              <c:numCache>
                <c:formatCode>General</c:formatCode>
                <c:ptCount val="8"/>
                <c:pt idx="0">
                  <c:v>1.131</c:v>
                </c:pt>
                <c:pt idx="1">
                  <c:v>0.69099999999999995</c:v>
                </c:pt>
                <c:pt idx="2">
                  <c:v>0.98699999999999999</c:v>
                </c:pt>
                <c:pt idx="3">
                  <c:v>1.0880000000000001</c:v>
                </c:pt>
                <c:pt idx="4">
                  <c:v>1.2669999999999999</c:v>
                </c:pt>
                <c:pt idx="5">
                  <c:v>1.0169999999999999</c:v>
                </c:pt>
                <c:pt idx="6">
                  <c:v>1.4339999999999999</c:v>
                </c:pt>
                <c:pt idx="7">
                  <c:v>0.73599999999999999</c:v>
                </c:pt>
              </c:numCache>
            </c:numRef>
          </c:yVal>
          <c:bubbleSize>
            <c:numRef>
              <c:f>Sheet1!$C$2:$C$9</c:f>
              <c:numCache>
                <c:formatCode>General</c:formatCode>
                <c:ptCount val="8"/>
                <c:pt idx="0">
                  <c:v>30956719</c:v>
                </c:pt>
                <c:pt idx="1">
                  <c:v>16850297</c:v>
                </c:pt>
                <c:pt idx="2">
                  <c:v>16088426</c:v>
                </c:pt>
                <c:pt idx="3">
                  <c:v>12545434</c:v>
                </c:pt>
                <c:pt idx="4">
                  <c:v>12208672</c:v>
                </c:pt>
                <c:pt idx="5">
                  <c:v>8124232</c:v>
                </c:pt>
                <c:pt idx="6">
                  <c:v>1583106</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017CCC9-6F54-43E7-B0E0-E980AB75E3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3E11F58-F579-4F5B-BC6B-DEE45D942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1C49826C-F368-4F55-B34C-078E8695F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8B5F882-B72A-4BAA-BF80-FEE7A5BD1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5517C5BD-0162-442F-8E8C-59988AB537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E866365-1B84-4C1B-A714-9AFDCB2EB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B37B77E0-80D4-4216-85C4-E3BAE24B87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7B65658-AB41-467A-A087-28041C289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22B5FB-2705-4D4B-A86E-027B2E647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5784899-06D4-40BF-9D81-A8B8515BC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E6F260E-DCAE-49D1-A2E7-BF2EDC27BE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3647831-BA57-452A-AC42-E18D9C365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D78186-8D20-4BCF-86A8-26EB475AD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7CD0A1-44C6-4494-86E8-6B74A60DB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01C791-C3AA-4A25-9EAB-F4427BF75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1F2075-65ED-483E-8AC9-85C61A481A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D1A46A-B333-4F11-9330-34D956DE6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7C57B4B-F32E-4669-9C3C-D9E710C5D0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CA4154-E540-4FBD-B1CB-4B2B06FBA3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A1A48E7-DA2E-4242-8E01-BC1A33FE4A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F291331-673E-4132-83D6-9D2DF01E1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18F98C-C5F3-4C8D-A071-D6776CF67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659FBE-B266-41BC-870F-F417D844F3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6E24157-384E-4A49-B3FA-E63A818B4A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6999999999999</c:v>
                </c:pt>
                <c:pt idx="1">
                  <c:v>2.5705</c:v>
                </c:pt>
                <c:pt idx="2">
                  <c:v>2.8330000000000002</c:v>
                </c:pt>
                <c:pt idx="3">
                  <c:v>3.2755999999999998</c:v>
                </c:pt>
                <c:pt idx="4">
                  <c:v>2.9988999999999999</c:v>
                </c:pt>
                <c:pt idx="5">
                  <c:v>3.1339999999999999</c:v>
                </c:pt>
                <c:pt idx="6">
                  <c:v>2.9653</c:v>
                </c:pt>
                <c:pt idx="7">
                  <c:v>2.5188000000000001</c:v>
                </c:pt>
              </c:numCache>
            </c:numRef>
          </c:xVal>
          <c:yVal>
            <c:numRef>
              <c:f>Sheet1!$B$2:$B$9</c:f>
              <c:numCache>
                <c:formatCode>General</c:formatCode>
                <c:ptCount val="8"/>
                <c:pt idx="0">
                  <c:v>0.88300000000000001</c:v>
                </c:pt>
                <c:pt idx="1">
                  <c:v>0.82199999999999995</c:v>
                </c:pt>
                <c:pt idx="2">
                  <c:v>1.0469999999999999</c:v>
                </c:pt>
                <c:pt idx="3">
                  <c:v>1.113</c:v>
                </c:pt>
                <c:pt idx="4">
                  <c:v>1.1220000000000001</c:v>
                </c:pt>
                <c:pt idx="5">
                  <c:v>0.77400000000000002</c:v>
                </c:pt>
                <c:pt idx="6">
                  <c:v>1.0089999999999999</c:v>
                </c:pt>
                <c:pt idx="7">
                  <c:v>1.4139999999999999</c:v>
                </c:pt>
              </c:numCache>
            </c:numRef>
          </c:yVal>
          <c:bubbleSize>
            <c:numRef>
              <c:f>Sheet1!$C$2:$C$9</c:f>
              <c:numCache>
                <c:formatCode>General</c:formatCode>
                <c:ptCount val="8"/>
                <c:pt idx="0">
                  <c:v>498218809</c:v>
                </c:pt>
                <c:pt idx="1">
                  <c:v>67782408</c:v>
                </c:pt>
                <c:pt idx="2">
                  <c:v>36346839</c:v>
                </c:pt>
                <c:pt idx="3">
                  <c:v>32529804</c:v>
                </c:pt>
                <c:pt idx="4">
                  <c:v>32178133</c:v>
                </c:pt>
                <c:pt idx="5">
                  <c:v>32133765</c:v>
                </c:pt>
                <c:pt idx="6">
                  <c:v>22816387</c:v>
                </c:pt>
                <c:pt idx="7">
                  <c:v>1958103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2D12444-D57B-4D1E-AAAC-3A9626485E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DB7741D-A4B1-49D3-B888-7EE6D9AA4E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3714BE95-D0AE-4543-83DE-44CA8E2D5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D8B24E0-0653-4F96-82EC-DE01FDB31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0C65652-F1D1-4BAE-BE2E-60337CB3E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E6ADF2E-A29C-4BA0-9BEC-E5E5A04356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61691BD7-DE2F-4DA6-AEF2-F8BD8D1FA6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993C95D-149D-43EA-B261-B5D273A44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00999999999999</c:v>
                </c:pt>
                <c:pt idx="1">
                  <c:v>1.4523999999999999</c:v>
                </c:pt>
                <c:pt idx="2">
                  <c:v>2.4236</c:v>
                </c:pt>
                <c:pt idx="3">
                  <c:v>2.4525000000000001</c:v>
                </c:pt>
                <c:pt idx="4">
                  <c:v>2.3136999999999999</c:v>
                </c:pt>
                <c:pt idx="5">
                  <c:v>2.4967000000000001</c:v>
                </c:pt>
                <c:pt idx="6">
                  <c:v>2.4449999999999998</c:v>
                </c:pt>
                <c:pt idx="7">
                  <c:v>2.4443000000000001</c:v>
                </c:pt>
              </c:numCache>
            </c:numRef>
          </c:xVal>
          <c:yVal>
            <c:numRef>
              <c:f>Sheet1!$B$2:$B$9</c:f>
              <c:numCache>
                <c:formatCode>General</c:formatCode>
                <c:ptCount val="8"/>
                <c:pt idx="0">
                  <c:v>1.081</c:v>
                </c:pt>
                <c:pt idx="1">
                  <c:v>0.67800000000000005</c:v>
                </c:pt>
                <c:pt idx="2">
                  <c:v>1.276</c:v>
                </c:pt>
                <c:pt idx="3">
                  <c:v>0.97599999999999998</c:v>
                </c:pt>
                <c:pt idx="4">
                  <c:v>1.087</c:v>
                </c:pt>
                <c:pt idx="5">
                  <c:v>1.0640000000000001</c:v>
                </c:pt>
                <c:pt idx="6">
                  <c:v>0.96699999999999997</c:v>
                </c:pt>
                <c:pt idx="7">
                  <c:v>1.5169999999999999</c:v>
                </c:pt>
              </c:numCache>
            </c:numRef>
          </c:yVal>
          <c:bubbleSize>
            <c:numRef>
              <c:f>Sheet1!$C$2:$C$9</c:f>
              <c:numCache>
                <c:formatCode>General</c:formatCode>
                <c:ptCount val="8"/>
                <c:pt idx="0">
                  <c:v>30253337</c:v>
                </c:pt>
                <c:pt idx="1">
                  <c:v>14481315</c:v>
                </c:pt>
                <c:pt idx="2">
                  <c:v>14007524</c:v>
                </c:pt>
                <c:pt idx="3">
                  <c:v>12109563</c:v>
                </c:pt>
                <c:pt idx="4">
                  <c:v>11825696</c:v>
                </c:pt>
                <c:pt idx="5">
                  <c:v>5828870</c:v>
                </c:pt>
                <c:pt idx="6">
                  <c:v>3949392</c:v>
                </c:pt>
                <c:pt idx="7">
                  <c:v>802773</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pt idx="7">
                    <c:v>Kir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E841106-2078-4555-A981-EDCB4CC397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69F26C3F-F218-4F76-8F7E-2824F11ACB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8F12652-BC9D-451F-B27D-BAB89D117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B1EC7B2-A799-4224-9FA8-FC0439B9A8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9FC6B4F5-1D69-49E4-8CCB-93D0AF38D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0A1BCBC0-C00B-42DB-9F58-9AC38EC2CC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83F73023-E978-4539-B245-A04725C15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B1B8478A-9466-49D2-AB8D-160E64DA1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8700000000000001</c:v>
                </c:pt>
                <c:pt idx="1">
                  <c:v>1.0820000000000001</c:v>
                </c:pt>
                <c:pt idx="2">
                  <c:v>1.1160000000000001</c:v>
                </c:pt>
                <c:pt idx="3">
                  <c:v>1.236</c:v>
                </c:pt>
                <c:pt idx="4">
                  <c:v>1.621</c:v>
                </c:pt>
                <c:pt idx="5">
                  <c:v>1.6379999999999999</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8FCE49C-F26E-458C-88B3-1073C9F516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32082B-EC6C-4F58-98DC-340F01CC4E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93DE6CC-5027-46A6-B79B-65331FF32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C7C5EC-0D85-45AA-AD6F-28531F176B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D2931BD-3356-4142-8527-87BDD34A3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6AA203B-74F1-4F80-A7F6-B42347B60E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6B7D01-B180-4F5D-9CAB-85E39DBA0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E137065-9D3B-472E-A240-30E4CBDF1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707999999999999</c:v>
                </c:pt>
                <c:pt idx="1">
                  <c:v>2.5295000000000001</c:v>
                </c:pt>
                <c:pt idx="2">
                  <c:v>2.7004000000000001</c:v>
                </c:pt>
                <c:pt idx="3">
                  <c:v>2.8982999999999999</c:v>
                </c:pt>
                <c:pt idx="4">
                  <c:v>3.3340999999999998</c:v>
                </c:pt>
                <c:pt idx="5">
                  <c:v>3.1894</c:v>
                </c:pt>
                <c:pt idx="6">
                  <c:v>2.9792000000000001</c:v>
                </c:pt>
                <c:pt idx="7">
                  <c:v>2.4716999999999998</c:v>
                </c:pt>
              </c:numCache>
            </c:numRef>
          </c:xVal>
          <c:yVal>
            <c:numRef>
              <c:f>Sheet1!$B$2:$B$9</c:f>
              <c:numCache>
                <c:formatCode>General</c:formatCode>
                <c:ptCount val="8"/>
                <c:pt idx="0">
                  <c:v>0.86599999999999999</c:v>
                </c:pt>
                <c:pt idx="1">
                  <c:v>0.88500000000000001</c:v>
                </c:pt>
                <c:pt idx="2">
                  <c:v>1.0760000000000001</c:v>
                </c:pt>
                <c:pt idx="3">
                  <c:v>1.1339999999999999</c:v>
                </c:pt>
                <c:pt idx="4">
                  <c:v>1.2909999999999999</c:v>
                </c:pt>
                <c:pt idx="5">
                  <c:v>0.89</c:v>
                </c:pt>
                <c:pt idx="6">
                  <c:v>1.1259999999999999</c:v>
                </c:pt>
                <c:pt idx="7">
                  <c:v>1.4450000000000001</c:v>
                </c:pt>
              </c:numCache>
            </c:numRef>
          </c:yVal>
          <c:bubbleSize>
            <c:numRef>
              <c:f>Sheet1!$C$2:$C$9</c:f>
              <c:numCache>
                <c:formatCode>General</c:formatCode>
                <c:ptCount val="8"/>
                <c:pt idx="0">
                  <c:v>3555101229</c:v>
                </c:pt>
                <c:pt idx="1">
                  <c:v>441401234</c:v>
                </c:pt>
                <c:pt idx="2">
                  <c:v>212784778</c:v>
                </c:pt>
                <c:pt idx="3">
                  <c:v>198815524</c:v>
                </c:pt>
                <c:pt idx="4">
                  <c:v>194491569</c:v>
                </c:pt>
                <c:pt idx="5">
                  <c:v>149020607</c:v>
                </c:pt>
                <c:pt idx="6">
                  <c:v>115028964</c:v>
                </c:pt>
                <c:pt idx="7">
                  <c:v>10297069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Entremon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0C0C4DB-8C1E-4579-ACA3-18294DBF37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EB32941-C4A1-4BE0-84BC-B57B31126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92399D-0C69-453B-BCBB-633BAABCF0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824D41-BFDA-459D-BEA6-E36897A054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C2CB10-CA4C-460D-8299-44FEB2AEE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ADDD9DB-834F-4A40-B1A2-1D44FA499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92F15E-6A68-4E05-932F-56F9CBC08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17D558-01D6-493F-927B-BD91EA6C11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6999999999999</c:v>
                </c:pt>
                <c:pt idx="1">
                  <c:v>2.5705</c:v>
                </c:pt>
                <c:pt idx="2">
                  <c:v>2.8330000000000002</c:v>
                </c:pt>
                <c:pt idx="3">
                  <c:v>3.2755999999999998</c:v>
                </c:pt>
                <c:pt idx="4">
                  <c:v>2.9988999999999999</c:v>
                </c:pt>
                <c:pt idx="5">
                  <c:v>3.1339999999999999</c:v>
                </c:pt>
                <c:pt idx="6">
                  <c:v>2.9653</c:v>
                </c:pt>
                <c:pt idx="7">
                  <c:v>2.5188000000000001</c:v>
                </c:pt>
              </c:numCache>
            </c:numRef>
          </c:xVal>
          <c:yVal>
            <c:numRef>
              <c:f>Sheet1!$B$2:$B$9</c:f>
              <c:numCache>
                <c:formatCode>General</c:formatCode>
                <c:ptCount val="8"/>
                <c:pt idx="0">
                  <c:v>0.88300000000000001</c:v>
                </c:pt>
                <c:pt idx="1">
                  <c:v>0.82199999999999995</c:v>
                </c:pt>
                <c:pt idx="2">
                  <c:v>1.0469999999999999</c:v>
                </c:pt>
                <c:pt idx="3">
                  <c:v>1.113</c:v>
                </c:pt>
                <c:pt idx="4">
                  <c:v>1.1220000000000001</c:v>
                </c:pt>
                <c:pt idx="5">
                  <c:v>0.77400000000000002</c:v>
                </c:pt>
                <c:pt idx="6">
                  <c:v>1.0089999999999999</c:v>
                </c:pt>
                <c:pt idx="7">
                  <c:v>1.4139999999999999</c:v>
                </c:pt>
              </c:numCache>
            </c:numRef>
          </c:yVal>
          <c:bubbleSize>
            <c:numRef>
              <c:f>Sheet1!$C$2:$C$9</c:f>
              <c:numCache>
                <c:formatCode>General</c:formatCode>
                <c:ptCount val="8"/>
                <c:pt idx="0">
                  <c:v>498218809</c:v>
                </c:pt>
                <c:pt idx="1">
                  <c:v>67782408</c:v>
                </c:pt>
                <c:pt idx="2">
                  <c:v>36346839</c:v>
                </c:pt>
                <c:pt idx="3">
                  <c:v>32529804</c:v>
                </c:pt>
                <c:pt idx="4">
                  <c:v>32178133</c:v>
                </c:pt>
                <c:pt idx="5">
                  <c:v>32133765</c:v>
                </c:pt>
                <c:pt idx="6">
                  <c:v>22816387</c:v>
                </c:pt>
                <c:pt idx="7">
                  <c:v>1958103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5FBE47E-3839-4BEB-8007-027E88FD77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2C2FC55-1F7A-4152-8A89-B687F5706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262D69B-D7DC-49B8-B41C-77AB7984E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B9AEA5-8F6A-4C0C-895B-4D7D25917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DAADB96-EE60-43BE-AE6D-371C7B3C9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3EF29E-ED4A-4909-92D5-8281F38CC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8583DA-D02B-40C7-8156-3A7CCD45D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27F695-162E-4FB0-AA19-731D75DC01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894999999999999</c:v>
                </c:pt>
                <c:pt idx="1">
                  <c:v>2.6318000000000001</c:v>
                </c:pt>
                <c:pt idx="2">
                  <c:v>3.3193999999999999</c:v>
                </c:pt>
                <c:pt idx="3">
                  <c:v>2.7353999999999998</c:v>
                </c:pt>
                <c:pt idx="4">
                  <c:v>2.9201000000000001</c:v>
                </c:pt>
                <c:pt idx="5">
                  <c:v>3.3643999999999998</c:v>
                </c:pt>
                <c:pt idx="6">
                  <c:v>2.5703</c:v>
                </c:pt>
                <c:pt idx="7">
                  <c:v>3.0628000000000002</c:v>
                </c:pt>
              </c:numCache>
            </c:numRef>
          </c:xVal>
          <c:yVal>
            <c:numRef>
              <c:f>Sheet1!$B$2:$B$9</c:f>
              <c:numCache>
                <c:formatCode>General</c:formatCode>
                <c:ptCount val="8"/>
                <c:pt idx="0">
                  <c:v>0.85199999999999998</c:v>
                </c:pt>
                <c:pt idx="1">
                  <c:v>0.93500000000000005</c:v>
                </c:pt>
                <c:pt idx="2">
                  <c:v>1.323</c:v>
                </c:pt>
                <c:pt idx="3">
                  <c:v>1.1140000000000001</c:v>
                </c:pt>
                <c:pt idx="4">
                  <c:v>1.1599999999999999</c:v>
                </c:pt>
                <c:pt idx="5">
                  <c:v>0.95199999999999996</c:v>
                </c:pt>
                <c:pt idx="6">
                  <c:v>1.494</c:v>
                </c:pt>
                <c:pt idx="7">
                  <c:v>1.1910000000000001</c:v>
                </c:pt>
              </c:numCache>
            </c:numRef>
          </c:yVal>
          <c:bubbleSize>
            <c:numRef>
              <c:f>Sheet1!$C$2:$C$9</c:f>
              <c:numCache>
                <c:formatCode>General</c:formatCode>
                <c:ptCount val="8"/>
                <c:pt idx="0">
                  <c:v>635650528</c:v>
                </c:pt>
                <c:pt idx="1">
                  <c:v>107531355</c:v>
                </c:pt>
                <c:pt idx="2">
                  <c:v>66381257</c:v>
                </c:pt>
                <c:pt idx="3">
                  <c:v>36240606</c:v>
                </c:pt>
                <c:pt idx="4">
                  <c:v>32921870</c:v>
                </c:pt>
                <c:pt idx="5">
                  <c:v>22558077</c:v>
                </c:pt>
                <c:pt idx="6">
                  <c:v>20786606</c:v>
                </c:pt>
                <c:pt idx="7">
                  <c:v>1719971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Soignon</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9A5559-18BD-4202-819A-A4B4D33779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7CB9E2-7B96-4ADF-A9C5-0C4D1D3D4A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6F79B6-D892-4E61-9610-EF2FF1415D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3D66B86-C653-46AC-9F20-A6BB4C6009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E6B153-0B95-4F47-B6B9-A11612618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F8BA9B-B6E0-4ED6-A56D-E40E697FF1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4F897A3-2CF0-4EB7-915E-74C2FEECF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3FFCDF-7553-4C66-B9E3-B582A89F6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87</c:v>
                </c:pt>
                <c:pt idx="1">
                  <c:v>2.2827999999999999</c:v>
                </c:pt>
                <c:pt idx="2">
                  <c:v>2.7042000000000002</c:v>
                </c:pt>
                <c:pt idx="3">
                  <c:v>2.9156</c:v>
                </c:pt>
                <c:pt idx="4">
                  <c:v>3.2122000000000002</c:v>
                </c:pt>
                <c:pt idx="5">
                  <c:v>3.2845</c:v>
                </c:pt>
                <c:pt idx="6">
                  <c:v>2.9792000000000001</c:v>
                </c:pt>
                <c:pt idx="7">
                  <c:v>2.3307000000000002</c:v>
                </c:pt>
              </c:numCache>
            </c:numRef>
          </c:xVal>
          <c:yVal>
            <c:numRef>
              <c:f>Sheet1!$B$2:$B$9</c:f>
              <c:numCache>
                <c:formatCode>General</c:formatCode>
                <c:ptCount val="8"/>
                <c:pt idx="0">
                  <c:v>0.85499999999999998</c:v>
                </c:pt>
                <c:pt idx="1">
                  <c:v>0.82199999999999995</c:v>
                </c:pt>
                <c:pt idx="2">
                  <c:v>1.0820000000000001</c:v>
                </c:pt>
                <c:pt idx="3">
                  <c:v>1.1399999999999999</c:v>
                </c:pt>
                <c:pt idx="4">
                  <c:v>1.1879999999999999</c:v>
                </c:pt>
                <c:pt idx="5">
                  <c:v>0.92500000000000004</c:v>
                </c:pt>
                <c:pt idx="6">
                  <c:v>1.1619999999999999</c:v>
                </c:pt>
                <c:pt idx="7">
                  <c:v>1.3620000000000001</c:v>
                </c:pt>
              </c:numCache>
            </c:numRef>
          </c:yVal>
          <c:bubbleSize>
            <c:numRef>
              <c:f>Sheet1!$C$2:$C$9</c:f>
              <c:numCache>
                <c:formatCode>General</c:formatCode>
                <c:ptCount val="8"/>
                <c:pt idx="0">
                  <c:v>1760863092</c:v>
                </c:pt>
                <c:pt idx="1">
                  <c:v>230947562</c:v>
                </c:pt>
                <c:pt idx="2">
                  <c:v>200738299</c:v>
                </c:pt>
                <c:pt idx="3">
                  <c:v>188621011</c:v>
                </c:pt>
                <c:pt idx="4">
                  <c:v>187705593</c:v>
                </c:pt>
                <c:pt idx="5">
                  <c:v>143118988</c:v>
                </c:pt>
                <c:pt idx="6">
                  <c:v>115028964</c:v>
                </c:pt>
                <c:pt idx="7">
                  <c:v>817636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09C5B4-4291-4ED2-940C-0BFDC717F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CF39093-2397-4A69-8F86-2E3CD89DA4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8421205-8657-4CDB-ADED-D30E5279E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56551E-4812-4A84-8095-3B49F7361D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404CF0-357D-4475-990E-935852410E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DFEFFE5-A1F4-4B3C-B9C1-774C2D0084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F50755-77D5-4720-820E-AA22FADEB0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5F4584D-C339-4643-BEC1-56D07D675C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3527999999999998</c:v>
                </c:pt>
                <c:pt idx="2">
                  <c:v>2.8315000000000001</c:v>
                </c:pt>
                <c:pt idx="3">
                  <c:v>3.2755999999999998</c:v>
                </c:pt>
                <c:pt idx="4">
                  <c:v>3.0144000000000002</c:v>
                </c:pt>
                <c:pt idx="5">
                  <c:v>3.2692000000000001</c:v>
                </c:pt>
                <c:pt idx="6">
                  <c:v>2.9653</c:v>
                </c:pt>
                <c:pt idx="7">
                  <c:v>2.3641999999999999</c:v>
                </c:pt>
              </c:numCache>
            </c:numRef>
          </c:xVal>
          <c:yVal>
            <c:numRef>
              <c:f>Sheet1!$B$2:$B$9</c:f>
              <c:numCache>
                <c:formatCode>General</c:formatCode>
                <c:ptCount val="8"/>
                <c:pt idx="0">
                  <c:v>0.88500000000000001</c:v>
                </c:pt>
                <c:pt idx="1">
                  <c:v>0.77700000000000002</c:v>
                </c:pt>
                <c:pt idx="2">
                  <c:v>1.0529999999999999</c:v>
                </c:pt>
                <c:pt idx="3">
                  <c:v>1.1479999999999999</c:v>
                </c:pt>
                <c:pt idx="4">
                  <c:v>1.137</c:v>
                </c:pt>
                <c:pt idx="5">
                  <c:v>0.80200000000000005</c:v>
                </c:pt>
                <c:pt idx="6">
                  <c:v>1.04</c:v>
                </c:pt>
                <c:pt idx="7">
                  <c:v>1.3220000000000001</c:v>
                </c:pt>
              </c:numCache>
            </c:numRef>
          </c:yVal>
          <c:bubbleSize>
            <c:numRef>
              <c:f>Sheet1!$C$2:$C$9</c:f>
              <c:numCache>
                <c:formatCode>General</c:formatCode>
                <c:ptCount val="8"/>
                <c:pt idx="0">
                  <c:v>263392264</c:v>
                </c:pt>
                <c:pt idx="1">
                  <c:v>39509333</c:v>
                </c:pt>
                <c:pt idx="2">
                  <c:v>34407631</c:v>
                </c:pt>
                <c:pt idx="3">
                  <c:v>32529804</c:v>
                </c:pt>
                <c:pt idx="4">
                  <c:v>30956719</c:v>
                </c:pt>
                <c:pt idx="5">
                  <c:v>30468388</c:v>
                </c:pt>
                <c:pt idx="6">
                  <c:v>22816387</c:v>
                </c:pt>
                <c:pt idx="7">
                  <c:v>1540549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2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BB6E3E-0C41-4380-88BA-CB978E6663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0690ABF-4D17-4A2B-82DD-7F42A655A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1F08B3-A399-4699-8622-14CD22E78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178AF3-0771-4F03-930A-DA26B53B8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1906177-E6BD-4829-A05E-8569BBD28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D5E866-6DA3-465A-87EC-5DE1F2DE2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8D9FB5E-7195-4142-B194-B7F453C36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EAB29B3-D01C-4676-B70D-62F052B70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3565</c:v>
                </c:pt>
                <c:pt idx="2">
                  <c:v>2.7509000000000001</c:v>
                </c:pt>
                <c:pt idx="3">
                  <c:v>2.9500999999999999</c:v>
                </c:pt>
                <c:pt idx="4">
                  <c:v>3.3361999999999998</c:v>
                </c:pt>
                <c:pt idx="5">
                  <c:v>3.3645999999999998</c:v>
                </c:pt>
                <c:pt idx="6">
                  <c:v>3.0628000000000002</c:v>
                </c:pt>
                <c:pt idx="7">
                  <c:v>2.4135</c:v>
                </c:pt>
              </c:numCache>
            </c:numRef>
          </c:xVal>
          <c:yVal>
            <c:numRef>
              <c:f>Sheet1!$B$2:$B$9</c:f>
              <c:numCache>
                <c:formatCode>General</c:formatCode>
                <c:ptCount val="8"/>
                <c:pt idx="0">
                  <c:v>0.83699999999999997</c:v>
                </c:pt>
                <c:pt idx="1">
                  <c:v>0.83899999999999997</c:v>
                </c:pt>
                <c:pt idx="2">
                  <c:v>1.0860000000000001</c:v>
                </c:pt>
                <c:pt idx="3">
                  <c:v>1.1259999999999999</c:v>
                </c:pt>
                <c:pt idx="4">
                  <c:v>1.2210000000000001</c:v>
                </c:pt>
                <c:pt idx="5">
                  <c:v>0.96499999999999997</c:v>
                </c:pt>
                <c:pt idx="6">
                  <c:v>1.2070000000000001</c:v>
                </c:pt>
                <c:pt idx="7">
                  <c:v>1.365</c:v>
                </c:pt>
              </c:numCache>
            </c:numRef>
          </c:yVal>
          <c:bubbleSize>
            <c:numRef>
              <c:f>Sheet1!$C$2:$C$9</c:f>
              <c:numCache>
                <c:formatCode>General</c:formatCode>
                <c:ptCount val="8"/>
                <c:pt idx="0">
                  <c:v>189926117</c:v>
                </c:pt>
                <c:pt idx="1">
                  <c:v>39277810</c:v>
                </c:pt>
                <c:pt idx="2">
                  <c:v>33117229</c:v>
                </c:pt>
                <c:pt idx="3">
                  <c:v>30253337</c:v>
                </c:pt>
                <c:pt idx="4">
                  <c:v>29411346</c:v>
                </c:pt>
                <c:pt idx="5">
                  <c:v>22557022</c:v>
                </c:pt>
                <c:pt idx="6">
                  <c:v>17199711</c:v>
                </c:pt>
                <c:pt idx="7">
                  <c:v>15801842</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D22A48-7031-43D8-9D0F-74F991C60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369C19-89EE-4172-A431-5D09F34C48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099A6B-6825-4F5F-8419-C03911D5C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0C1D79C-AD6B-42E0-AA21-D478A312C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9AC957-B996-486B-BE3E-815D4D7AE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689D53-5A94-409E-A44E-56B8714AF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22EDE4C-CC8F-40EB-917C-D45EAC34F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5C34A82-AA7E-439E-A910-6601F1E64D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B45A79F-5D9D-4759-8CE1-6C1EC1C989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6E777B-36CE-4819-B228-F85FA90EFA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B50CA2E-8B91-4714-8E66-8DD9361F2A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955996-BFFC-4997-BDFE-4DA596BFE4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899A446-0D5A-4323-B311-A36428905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CC348D-9E93-4455-8FCB-EA4EC2F55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9A4DD06-C28C-4053-9819-350753560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1CCA77A-8576-4FB8-A393-9F8A11AA7D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8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784F3A-91C8-415B-9215-88CD5DAEC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49F563-CE56-4270-8FE9-9996D7829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6C9997-3870-4719-B5FA-FA90ED7C3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B0D184-4ABF-43EB-8EFD-8BE4C0EEAB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6E1C41-8AD5-48A2-A23F-3C1309143A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71BA78-3AA8-4842-832F-F7E5D46E7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A36EAC-20E4-41E6-9060-1BC722136C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9E850DC-BC10-4852-9195-1CA4D628E0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894999999999999</c:v>
                </c:pt>
                <c:pt idx="1">
                  <c:v>2.6318000000000001</c:v>
                </c:pt>
                <c:pt idx="2">
                  <c:v>3.3193999999999999</c:v>
                </c:pt>
                <c:pt idx="3">
                  <c:v>2.7353999999999998</c:v>
                </c:pt>
                <c:pt idx="4">
                  <c:v>2.9201000000000001</c:v>
                </c:pt>
                <c:pt idx="5">
                  <c:v>3.3643999999999998</c:v>
                </c:pt>
                <c:pt idx="6">
                  <c:v>2.5703</c:v>
                </c:pt>
                <c:pt idx="7">
                  <c:v>3.0628000000000002</c:v>
                </c:pt>
              </c:numCache>
            </c:numRef>
          </c:xVal>
          <c:yVal>
            <c:numRef>
              <c:f>Sheet1!$B$2:$B$9</c:f>
              <c:numCache>
                <c:formatCode>General</c:formatCode>
                <c:ptCount val="8"/>
                <c:pt idx="0">
                  <c:v>0.85199999999999998</c:v>
                </c:pt>
                <c:pt idx="1">
                  <c:v>0.93500000000000005</c:v>
                </c:pt>
                <c:pt idx="2">
                  <c:v>1.323</c:v>
                </c:pt>
                <c:pt idx="3">
                  <c:v>1.1140000000000001</c:v>
                </c:pt>
                <c:pt idx="4">
                  <c:v>1.1599999999999999</c:v>
                </c:pt>
                <c:pt idx="5">
                  <c:v>0.95199999999999996</c:v>
                </c:pt>
                <c:pt idx="6">
                  <c:v>1.494</c:v>
                </c:pt>
                <c:pt idx="7">
                  <c:v>1.1910000000000001</c:v>
                </c:pt>
              </c:numCache>
            </c:numRef>
          </c:yVal>
          <c:bubbleSize>
            <c:numRef>
              <c:f>Sheet1!$C$2:$C$9</c:f>
              <c:numCache>
                <c:formatCode>General</c:formatCode>
                <c:ptCount val="8"/>
                <c:pt idx="0">
                  <c:v>635650528</c:v>
                </c:pt>
                <c:pt idx="1">
                  <c:v>107531355</c:v>
                </c:pt>
                <c:pt idx="2">
                  <c:v>66381257</c:v>
                </c:pt>
                <c:pt idx="3">
                  <c:v>36240606</c:v>
                </c:pt>
                <c:pt idx="4">
                  <c:v>32921870</c:v>
                </c:pt>
                <c:pt idx="5">
                  <c:v>22558077</c:v>
                </c:pt>
                <c:pt idx="6">
                  <c:v>20786606</c:v>
                </c:pt>
                <c:pt idx="7">
                  <c:v>1719971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Soignon</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156FB9-5C13-4BA7-A4D3-47A6A4D5F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011E55-3E31-4C45-BE04-3241FC9BA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849A87A-B025-4106-B9A4-D130F5E2D2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B68895A-A742-4164-A39D-F7393D9F3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641733-4509-4AF7-9335-D96D7E6242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F5ACF15-7F78-4C1F-89DD-440D5CE42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F3F9C41-0E34-4EB6-AEE6-E644E822A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2904CB6-EA9B-4958-A852-8DA83C5A0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511000000000001</c:v>
                </c:pt>
                <c:pt idx="1">
                  <c:v>2.1533000000000002</c:v>
                </c:pt>
                <c:pt idx="2">
                  <c:v>3.3626999999999998</c:v>
                </c:pt>
                <c:pt idx="3">
                  <c:v>2.6185</c:v>
                </c:pt>
                <c:pt idx="4">
                  <c:v>2.5989</c:v>
                </c:pt>
                <c:pt idx="5">
                  <c:v>2.8252000000000002</c:v>
                </c:pt>
              </c:numCache>
            </c:numRef>
          </c:xVal>
          <c:yVal>
            <c:numRef>
              <c:f>Sheet1!$B$2:$B$7</c:f>
              <c:numCache>
                <c:formatCode>General</c:formatCode>
                <c:ptCount val="6"/>
                <c:pt idx="0">
                  <c:v>0.88700000000000001</c:v>
                </c:pt>
                <c:pt idx="1">
                  <c:v>1.1140000000000001</c:v>
                </c:pt>
                <c:pt idx="2">
                  <c:v>1.74</c:v>
                </c:pt>
                <c:pt idx="3">
                  <c:v>1.3560000000000001</c:v>
                </c:pt>
                <c:pt idx="4">
                  <c:v>1.0129999999999999</c:v>
                </c:pt>
                <c:pt idx="5">
                  <c:v>0.81599999999999995</c:v>
                </c:pt>
              </c:numCache>
            </c:numRef>
          </c:yVal>
          <c:bubbleSize>
            <c:numRef>
              <c:f>Sheet1!$C$2:$C$7</c:f>
              <c:numCache>
                <c:formatCode>General</c:formatCode>
                <c:ptCount val="6"/>
                <c:pt idx="0">
                  <c:v>23271110</c:v>
                </c:pt>
                <c:pt idx="1">
                  <c:v>4730575</c:v>
                </c:pt>
                <c:pt idx="2">
                  <c:v>4275865</c:v>
                </c:pt>
                <c:pt idx="3">
                  <c:v>2668533</c:v>
                </c:pt>
                <c:pt idx="4">
                  <c:v>2642649</c:v>
                </c:pt>
                <c:pt idx="5">
                  <c:v>473706</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pt idx="5">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5A138F-A03D-4205-88B7-3BE3A75252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6636F7-CFCE-4453-9E51-B2817261C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C9AD96-27B0-4226-BFED-B57394207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3FA45B-72E0-473C-B475-A157A3332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DDB904-460A-466E-8350-334070FD5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00B435-F785-4FCA-AB9C-164B6995AC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FC882E-E654-4915-A08A-F60F64C9C7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1B72AF-CB17-4259-A1C4-EFAEDF8257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449999999999999</c:v>
                </c:pt>
                <c:pt idx="1">
                  <c:v>2.0207000000000002</c:v>
                </c:pt>
                <c:pt idx="2">
                  <c:v>3.448</c:v>
                </c:pt>
                <c:pt idx="3">
                  <c:v>1.873</c:v>
                </c:pt>
                <c:pt idx="4">
                  <c:v>3.58</c:v>
                </c:pt>
                <c:pt idx="5">
                  <c:v>2.5432000000000001</c:v>
                </c:pt>
              </c:numCache>
            </c:numRef>
          </c:xVal>
          <c:yVal>
            <c:numRef>
              <c:f>Sheet1!$B$2:$B$7</c:f>
              <c:numCache>
                <c:formatCode>General</c:formatCode>
                <c:ptCount val="6"/>
                <c:pt idx="0">
                  <c:v>0.85899999999999999</c:v>
                </c:pt>
                <c:pt idx="1">
                  <c:v>1.1160000000000001</c:v>
                </c:pt>
                <c:pt idx="2">
                  <c:v>1.5269999999999999</c:v>
                </c:pt>
                <c:pt idx="3">
                  <c:v>1.145</c:v>
                </c:pt>
                <c:pt idx="4">
                  <c:v>1.4239999999999999</c:v>
                </c:pt>
                <c:pt idx="5">
                  <c:v>1.373</c:v>
                </c:pt>
              </c:numCache>
            </c:numRef>
          </c:yVal>
          <c:bubbleSize>
            <c:numRef>
              <c:f>Sheet1!$C$2:$C$7</c:f>
              <c:numCache>
                <c:formatCode>General</c:formatCode>
                <c:ptCount val="6"/>
                <c:pt idx="0">
                  <c:v>77248377</c:v>
                </c:pt>
                <c:pt idx="1">
                  <c:v>34203912</c:v>
                </c:pt>
                <c:pt idx="2">
                  <c:v>8572561</c:v>
                </c:pt>
                <c:pt idx="3">
                  <c:v>5901619</c:v>
                </c:pt>
                <c:pt idx="4">
                  <c:v>2984383</c:v>
                </c:pt>
                <c:pt idx="5">
                  <c:v>259271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La Vache Qui Rit</c:v>
                  </c:pt>
                  <c:pt idx="4">
                    <c:v>Raguin</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2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397020B-51CF-4D2E-B231-0F70EDDD5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08F391-B57B-43FA-BF99-DA601B8EBE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FA3C31-D25A-409D-BE24-FFE2F01478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200B616-F891-4205-A17C-F4D01F633D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C99144-922D-47C9-96E0-E75CF6E89F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3AE3919-4F6C-4A4B-95CB-FD0F6E6B05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526233-1AE9-4BF6-823D-5DD05440E1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473B294-38FE-41DB-80D8-52A55F051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09</c:v>
                </c:pt>
                <c:pt idx="1">
                  <c:v>2.0162</c:v>
                </c:pt>
                <c:pt idx="2">
                  <c:v>1.7841</c:v>
                </c:pt>
                <c:pt idx="3">
                  <c:v>3.4218000000000002</c:v>
                </c:pt>
                <c:pt idx="4">
                  <c:v>2.6625999999999999</c:v>
                </c:pt>
                <c:pt idx="5">
                  <c:v>4.0000999999999998</c:v>
                </c:pt>
              </c:numCache>
            </c:numRef>
          </c:xVal>
          <c:yVal>
            <c:numRef>
              <c:f>Sheet1!$B$2:$B$7</c:f>
              <c:numCache>
                <c:formatCode>General</c:formatCode>
                <c:ptCount val="6"/>
                <c:pt idx="0">
                  <c:v>0.84699999999999998</c:v>
                </c:pt>
                <c:pt idx="1">
                  <c:v>1.137</c:v>
                </c:pt>
                <c:pt idx="2">
                  <c:v>1.093</c:v>
                </c:pt>
                <c:pt idx="3">
                  <c:v>1.5529999999999999</c:v>
                </c:pt>
                <c:pt idx="4">
                  <c:v>1.379</c:v>
                </c:pt>
                <c:pt idx="5">
                  <c:v>1.5629999999999999</c:v>
                </c:pt>
              </c:numCache>
            </c:numRef>
          </c:yVal>
          <c:bubbleSize>
            <c:numRef>
              <c:f>Sheet1!$C$2:$C$7</c:f>
              <c:numCache>
                <c:formatCode>General</c:formatCode>
                <c:ptCount val="6"/>
                <c:pt idx="0">
                  <c:v>8889711</c:v>
                </c:pt>
                <c:pt idx="1">
                  <c:v>4466526</c:v>
                </c:pt>
                <c:pt idx="2">
                  <c:v>1665377</c:v>
                </c:pt>
                <c:pt idx="3">
                  <c:v>826174</c:v>
                </c:pt>
                <c:pt idx="4">
                  <c:v>381075</c:v>
                </c:pt>
                <c:pt idx="5">
                  <c:v>19517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Vache Qui Rit</c:v>
                  </c:pt>
                  <c:pt idx="3">
                    <c:v>La Belle Etoile</c:v>
                  </c:pt>
                  <c:pt idx="4">
                    <c:v>Boursin</c:v>
                  </c:pt>
                  <c:pt idx="5">
                    <c:v>Ragu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6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5642EA-E2EE-474D-BE79-805685C8C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03D6B8-610A-4A3A-96B6-27416EBBF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926A77-8521-4D05-9905-DEFB13FAF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1F8228-FA64-49CB-A5EB-B4CE9C4B6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868601-EF3E-4A05-8E53-40E07A93A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21C78EB-2D92-4C88-AC5E-8DF34D950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554200D-39B6-4A31-A968-2CA1E1CC1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E5D1BD-8E56-4D35-A989-B04D189FCF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62000000000001</c:v>
                </c:pt>
                <c:pt idx="1">
                  <c:v>2.0152000000000001</c:v>
                </c:pt>
                <c:pt idx="2">
                  <c:v>3.7374999999999998</c:v>
                </c:pt>
                <c:pt idx="3">
                  <c:v>3.7753000000000001</c:v>
                </c:pt>
                <c:pt idx="4">
                  <c:v>2.641</c:v>
                </c:pt>
                <c:pt idx="5">
                  <c:v>1.556</c:v>
                </c:pt>
              </c:numCache>
            </c:numRef>
          </c:xVal>
          <c:yVal>
            <c:numRef>
              <c:f>Sheet1!$B$2:$B$7</c:f>
              <c:numCache>
                <c:formatCode>General</c:formatCode>
                <c:ptCount val="6"/>
                <c:pt idx="0">
                  <c:v>0.84199999999999997</c:v>
                </c:pt>
                <c:pt idx="1">
                  <c:v>1.073</c:v>
                </c:pt>
                <c:pt idx="2">
                  <c:v>1.5489999999999999</c:v>
                </c:pt>
                <c:pt idx="3">
                  <c:v>1.458</c:v>
                </c:pt>
                <c:pt idx="4">
                  <c:v>1.4239999999999999</c:v>
                </c:pt>
                <c:pt idx="5">
                  <c:v>1.1080000000000001</c:v>
                </c:pt>
              </c:numCache>
            </c:numRef>
          </c:yVal>
          <c:bubbleSize>
            <c:numRef>
              <c:f>Sheet1!$C$2:$C$7</c:f>
              <c:numCache>
                <c:formatCode>General</c:formatCode>
                <c:ptCount val="6"/>
                <c:pt idx="0">
                  <c:v>16108620</c:v>
                </c:pt>
                <c:pt idx="1">
                  <c:v>12774315</c:v>
                </c:pt>
                <c:pt idx="2">
                  <c:v>2517046</c:v>
                </c:pt>
                <c:pt idx="3">
                  <c:v>1100140</c:v>
                </c:pt>
                <c:pt idx="4">
                  <c:v>708899</c:v>
                </c:pt>
                <c:pt idx="5">
                  <c:v>105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4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704560B-D783-4840-A639-6774E29AF9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189379-A452-4717-B63C-FD782A0BDE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1F5912A-F31F-4B8E-BC19-A9C6A64D05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05EDF8-165E-4950-9F54-3F799104DE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59B03B-E393-4B05-8C4F-5A4B10BA6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E823D06-BCC3-479E-8B41-315C8A5DAB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2F37994-B7B0-4462-A61D-053CD3708B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F5400C-ED01-4822-9FEC-98B1DD064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845</c:v>
                </c:pt>
                <c:pt idx="1">
                  <c:v>3.4908000000000001</c:v>
                </c:pt>
                <c:pt idx="2">
                  <c:v>3.0055999999999998</c:v>
                </c:pt>
                <c:pt idx="3">
                  <c:v>2.2181000000000002</c:v>
                </c:pt>
                <c:pt idx="4">
                  <c:v>2.7117</c:v>
                </c:pt>
                <c:pt idx="5">
                  <c:v>3.2094999999999998</c:v>
                </c:pt>
              </c:numCache>
            </c:numRef>
          </c:xVal>
          <c:yVal>
            <c:numRef>
              <c:f>Sheet1!$B$2:$B$7</c:f>
              <c:numCache>
                <c:formatCode>General</c:formatCode>
                <c:ptCount val="6"/>
                <c:pt idx="0">
                  <c:v>0.88900000000000001</c:v>
                </c:pt>
                <c:pt idx="1">
                  <c:v>1.431</c:v>
                </c:pt>
                <c:pt idx="2">
                  <c:v>1.1040000000000001</c:v>
                </c:pt>
                <c:pt idx="3">
                  <c:v>0.64400000000000002</c:v>
                </c:pt>
                <c:pt idx="4">
                  <c:v>1.952</c:v>
                </c:pt>
                <c:pt idx="5">
                  <c:v>1.4830000000000001</c:v>
                </c:pt>
              </c:numCache>
            </c:numRef>
          </c:yVal>
          <c:bubbleSize>
            <c:numRef>
              <c:f>Sheet1!$C$2:$C$7</c:f>
              <c:numCache>
                <c:formatCode>General</c:formatCode>
                <c:ptCount val="6"/>
                <c:pt idx="0">
                  <c:v>143118908</c:v>
                </c:pt>
                <c:pt idx="1">
                  <c:v>133719924</c:v>
                </c:pt>
                <c:pt idx="2">
                  <c:v>109186832</c:v>
                </c:pt>
                <c:pt idx="3">
                  <c:v>100313963</c:v>
                </c:pt>
                <c:pt idx="4">
                  <c:v>40963436</c:v>
                </c:pt>
                <c:pt idx="5">
                  <c:v>11176159</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AFDCC2-BB48-493F-8DA8-D5905B0AF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8828EC-3C99-4218-A25F-01B5AAC2C2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05839CA-A058-4998-98C0-F54B666F2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CD4951-6A0A-47CD-A4A9-26478D8C0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CF6DE08-3BD2-4B60-9DCB-F03589176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AF91EE2-F3C8-4D15-9245-A325DE2E6B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24A9824-2AEB-4D14-A20E-EEA5428EF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821FD3C-A7D4-4F0E-A93A-DD9D3745E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692000000000001</c:v>
                </c:pt>
                <c:pt idx="1">
                  <c:v>3.4565000000000001</c:v>
                </c:pt>
                <c:pt idx="2">
                  <c:v>2.9908000000000001</c:v>
                </c:pt>
                <c:pt idx="3">
                  <c:v>2.3189000000000002</c:v>
                </c:pt>
                <c:pt idx="4">
                  <c:v>2.8247</c:v>
                </c:pt>
                <c:pt idx="5">
                  <c:v>3.0139</c:v>
                </c:pt>
              </c:numCache>
            </c:numRef>
          </c:xVal>
          <c:yVal>
            <c:numRef>
              <c:f>Sheet1!$B$2:$B$7</c:f>
              <c:numCache>
                <c:formatCode>General</c:formatCode>
                <c:ptCount val="6"/>
                <c:pt idx="0">
                  <c:v>0.81499999999999995</c:v>
                </c:pt>
                <c:pt idx="1">
                  <c:v>1.363</c:v>
                </c:pt>
                <c:pt idx="2">
                  <c:v>1.036</c:v>
                </c:pt>
                <c:pt idx="3">
                  <c:v>0.69099999999999995</c:v>
                </c:pt>
                <c:pt idx="4">
                  <c:v>2.008</c:v>
                </c:pt>
                <c:pt idx="5">
                  <c:v>1.6180000000000001</c:v>
                </c:pt>
              </c:numCache>
            </c:numRef>
          </c:yVal>
          <c:bubbleSize>
            <c:numRef>
              <c:f>Sheet1!$C$2:$C$7</c:f>
              <c:numCache>
                <c:formatCode>General</c:formatCode>
                <c:ptCount val="6"/>
                <c:pt idx="0">
                  <c:v>30468308</c:v>
                </c:pt>
                <c:pt idx="1">
                  <c:v>22613796</c:v>
                </c:pt>
                <c:pt idx="2">
                  <c:v>21233281</c:v>
                </c:pt>
                <c:pt idx="3">
                  <c:v>10731593</c:v>
                </c:pt>
                <c:pt idx="4">
                  <c:v>8292955</c:v>
                </c:pt>
                <c:pt idx="5">
                  <c:v>2020643</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74000F-7117-4EF7-98F1-F962FD8D6E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54DA9C-2BC0-46B2-81D9-B4799B0EB2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1F6875-60E0-4EE5-BA64-5B10417D7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01B9CC-6D24-4DF2-9AF4-D8A446E5E5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0CC5EB-84A4-4035-A4DC-6360680F0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7D89986-6941-404A-B90C-DBFBEADEBF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D80FF51-BFB7-4E81-B6B9-4367CEB7F6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373082-006B-4A22-8DFD-5E45B59413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3645999999999998</c:v>
                </c:pt>
                <c:pt idx="1">
                  <c:v>3.5409000000000002</c:v>
                </c:pt>
                <c:pt idx="2">
                  <c:v>3.1012</c:v>
                </c:pt>
                <c:pt idx="3">
                  <c:v>2.0585</c:v>
                </c:pt>
                <c:pt idx="4">
                  <c:v>2.7042000000000002</c:v>
                </c:pt>
                <c:pt idx="5">
                  <c:v>3.6595</c:v>
                </c:pt>
              </c:numCache>
            </c:numRef>
          </c:xVal>
          <c:yVal>
            <c:numRef>
              <c:f>Sheet1!$B$2:$B$7</c:f>
              <c:numCache>
                <c:formatCode>General</c:formatCode>
                <c:ptCount val="6"/>
                <c:pt idx="0">
                  <c:v>0.86699999999999999</c:v>
                </c:pt>
                <c:pt idx="1">
                  <c:v>1.371</c:v>
                </c:pt>
                <c:pt idx="2">
                  <c:v>1.073</c:v>
                </c:pt>
                <c:pt idx="3">
                  <c:v>0.64100000000000001</c:v>
                </c:pt>
                <c:pt idx="4">
                  <c:v>1.871</c:v>
                </c:pt>
                <c:pt idx="5">
                  <c:v>1.278</c:v>
                </c:pt>
              </c:numCache>
            </c:numRef>
          </c:yVal>
          <c:bubbleSize>
            <c:numRef>
              <c:f>Sheet1!$C$2:$C$7</c:f>
              <c:numCache>
                <c:formatCode>General</c:formatCode>
                <c:ptCount val="6"/>
                <c:pt idx="0">
                  <c:v>22557022</c:v>
                </c:pt>
                <c:pt idx="1">
                  <c:v>19313906</c:v>
                </c:pt>
                <c:pt idx="2">
                  <c:v>16396938</c:v>
                </c:pt>
                <c:pt idx="3">
                  <c:v>10594194</c:v>
                </c:pt>
                <c:pt idx="4">
                  <c:v>5799659</c:v>
                </c:pt>
                <c:pt idx="5">
                  <c:v>1522946</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C74C25-4A70-4A9C-B288-3EDA75623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EFF691-2D06-4268-AE84-3A9CCC387C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FEB060E-D048-4579-8FDF-30F170F55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4528CA-9B9C-4354-8CB7-9E18307775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5112D2F-422C-43AF-9894-E685BA8994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81116DD-D4D7-4B4A-964E-D3B81582C3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080389-09FA-4800-9595-EB5211365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B5081EA-E3EC-4730-ACB8-6279914B4A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56</c:v>
                </c:pt>
                <c:pt idx="1">
                  <c:v>1.5004999999999999</c:v>
                </c:pt>
                <c:pt idx="2">
                  <c:v>2.4567999999999999</c:v>
                </c:pt>
                <c:pt idx="3">
                  <c:v>2.2768000000000002</c:v>
                </c:pt>
                <c:pt idx="4">
                  <c:v>2.3458000000000001</c:v>
                </c:pt>
                <c:pt idx="5">
                  <c:v>2.4558</c:v>
                </c:pt>
                <c:pt idx="6">
                  <c:v>2.5592999999999999</c:v>
                </c:pt>
                <c:pt idx="7">
                  <c:v>8.8888999999999996</c:v>
                </c:pt>
              </c:numCache>
            </c:numRef>
          </c:xVal>
          <c:yVal>
            <c:numRef>
              <c:f>Sheet1!$B$2:$B$9</c:f>
              <c:numCache>
                <c:formatCode>General</c:formatCode>
                <c:ptCount val="8"/>
                <c:pt idx="0">
                  <c:v>1.1499999999999999</c:v>
                </c:pt>
                <c:pt idx="1">
                  <c:v>0.68899999999999995</c:v>
                </c:pt>
                <c:pt idx="2">
                  <c:v>1.0349999999999999</c:v>
                </c:pt>
                <c:pt idx="3">
                  <c:v>1.1140000000000001</c:v>
                </c:pt>
                <c:pt idx="4">
                  <c:v>1.3320000000000001</c:v>
                </c:pt>
                <c:pt idx="5">
                  <c:v>1.099</c:v>
                </c:pt>
                <c:pt idx="6">
                  <c:v>1.5149999999999999</c:v>
                </c:pt>
                <c:pt idx="7">
                  <c:v>0.80100000000000005</c:v>
                </c:pt>
              </c:numCache>
            </c:numRef>
          </c:yVal>
          <c:bubbleSize>
            <c:numRef>
              <c:f>Sheet1!$C$2:$C$9</c:f>
              <c:numCache>
                <c:formatCode>General</c:formatCode>
                <c:ptCount val="8"/>
                <c:pt idx="0">
                  <c:v>188621011</c:v>
                </c:pt>
                <c:pt idx="1">
                  <c:v>139659774</c:v>
                </c:pt>
                <c:pt idx="2">
                  <c:v>89110867</c:v>
                </c:pt>
                <c:pt idx="3">
                  <c:v>74612015</c:v>
                </c:pt>
                <c:pt idx="4">
                  <c:v>69893459</c:v>
                </c:pt>
                <c:pt idx="5">
                  <c:v>40894571</c:v>
                </c:pt>
                <c:pt idx="6">
                  <c:v>5842132</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B212A3-18E6-4344-89AE-DEA93747F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1DF8170-9CEA-4013-A415-0ADD0BE6D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0F7029-D4F4-43A6-8041-9FE2F7B69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484479D-CBE5-4CBA-A25B-6BCB08F6D1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0FF460A-0F9E-402C-8373-E37FDFFEC5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80193C-DDF0-4F4B-B9DB-6F4712BBC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DF0CDF9-25FA-404E-9E96-5B2E16B55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3A71013-F8C1-4501-A1B5-4348FADB9B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144000000000002</c:v>
                </c:pt>
                <c:pt idx="1">
                  <c:v>1.6611</c:v>
                </c:pt>
                <c:pt idx="2">
                  <c:v>2.5226999999999999</c:v>
                </c:pt>
                <c:pt idx="3">
                  <c:v>2.3923999999999999</c:v>
                </c:pt>
                <c:pt idx="4">
                  <c:v>2.4001999999999999</c:v>
                </c:pt>
                <c:pt idx="5">
                  <c:v>2.4596</c:v>
                </c:pt>
                <c:pt idx="6">
                  <c:v>2.6608000000000001</c:v>
                </c:pt>
                <c:pt idx="7">
                  <c:v>8.8888999999999996</c:v>
                </c:pt>
              </c:numCache>
            </c:numRef>
          </c:xVal>
          <c:yVal>
            <c:numRef>
              <c:f>Sheet1!$B$2:$B$9</c:f>
              <c:numCache>
                <c:formatCode>General</c:formatCode>
                <c:ptCount val="8"/>
                <c:pt idx="0">
                  <c:v>1.131</c:v>
                </c:pt>
                <c:pt idx="1">
                  <c:v>0.69099999999999995</c:v>
                </c:pt>
                <c:pt idx="2">
                  <c:v>0.98699999999999999</c:v>
                </c:pt>
                <c:pt idx="3">
                  <c:v>1.0880000000000001</c:v>
                </c:pt>
                <c:pt idx="4">
                  <c:v>1.2669999999999999</c:v>
                </c:pt>
                <c:pt idx="5">
                  <c:v>1.0169999999999999</c:v>
                </c:pt>
                <c:pt idx="6">
                  <c:v>1.4339999999999999</c:v>
                </c:pt>
                <c:pt idx="7">
                  <c:v>0.73599999999999999</c:v>
                </c:pt>
              </c:numCache>
            </c:numRef>
          </c:yVal>
          <c:bubbleSize>
            <c:numRef>
              <c:f>Sheet1!$C$2:$C$9</c:f>
              <c:numCache>
                <c:formatCode>General</c:formatCode>
                <c:ptCount val="8"/>
                <c:pt idx="0">
                  <c:v>30956719</c:v>
                </c:pt>
                <c:pt idx="1">
                  <c:v>16850297</c:v>
                </c:pt>
                <c:pt idx="2">
                  <c:v>16088426</c:v>
                </c:pt>
                <c:pt idx="3">
                  <c:v>12545434</c:v>
                </c:pt>
                <c:pt idx="4">
                  <c:v>12208672</c:v>
                </c:pt>
                <c:pt idx="5">
                  <c:v>8124232</c:v>
                </c:pt>
                <c:pt idx="6">
                  <c:v>1583106</c:v>
                </c:pt>
                <c:pt idx="7">
                  <c:v>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1"/>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62A27A6-A3FC-47C9-8914-8F50D174FB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E88C64-AFEA-480B-8D8F-1FEF862E2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FA5EB1-5FB1-429A-B127-3B10453B9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F6627A0-DC55-4561-8D88-03F29E8D2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FC43C8-7B60-40B2-AFB2-AA459549E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6BEEA5A-2F23-448E-B748-1710F78059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4DD7DF-7A56-481D-880E-7F95A49810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E70CDB-06AA-4F02-934D-AE9A52C5DB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500999999999999</c:v>
                </c:pt>
                <c:pt idx="1">
                  <c:v>1.4523999999999999</c:v>
                </c:pt>
                <c:pt idx="2">
                  <c:v>2.4236</c:v>
                </c:pt>
                <c:pt idx="3">
                  <c:v>2.4525000000000001</c:v>
                </c:pt>
                <c:pt idx="4">
                  <c:v>2.3136999999999999</c:v>
                </c:pt>
                <c:pt idx="5">
                  <c:v>2.4967000000000001</c:v>
                </c:pt>
                <c:pt idx="6">
                  <c:v>2.4449999999999998</c:v>
                </c:pt>
                <c:pt idx="7">
                  <c:v>2.4443000000000001</c:v>
                </c:pt>
              </c:numCache>
            </c:numRef>
          </c:xVal>
          <c:yVal>
            <c:numRef>
              <c:f>Sheet1!$B$2:$B$9</c:f>
              <c:numCache>
                <c:formatCode>General</c:formatCode>
                <c:ptCount val="8"/>
                <c:pt idx="0">
                  <c:v>1.081</c:v>
                </c:pt>
                <c:pt idx="1">
                  <c:v>0.67800000000000005</c:v>
                </c:pt>
                <c:pt idx="2">
                  <c:v>1.276</c:v>
                </c:pt>
                <c:pt idx="3">
                  <c:v>0.97599999999999998</c:v>
                </c:pt>
                <c:pt idx="4">
                  <c:v>1.087</c:v>
                </c:pt>
                <c:pt idx="5">
                  <c:v>1.0640000000000001</c:v>
                </c:pt>
                <c:pt idx="6">
                  <c:v>0.96699999999999997</c:v>
                </c:pt>
                <c:pt idx="7">
                  <c:v>1.5169999999999999</c:v>
                </c:pt>
              </c:numCache>
            </c:numRef>
          </c:yVal>
          <c:bubbleSize>
            <c:numRef>
              <c:f>Sheet1!$C$2:$C$9</c:f>
              <c:numCache>
                <c:formatCode>General</c:formatCode>
                <c:ptCount val="8"/>
                <c:pt idx="0">
                  <c:v>30253337</c:v>
                </c:pt>
                <c:pt idx="1">
                  <c:v>14481315</c:v>
                </c:pt>
                <c:pt idx="2">
                  <c:v>14007524</c:v>
                </c:pt>
                <c:pt idx="3">
                  <c:v>12109563</c:v>
                </c:pt>
                <c:pt idx="4">
                  <c:v>11825696</c:v>
                </c:pt>
                <c:pt idx="5">
                  <c:v>5828870</c:v>
                </c:pt>
                <c:pt idx="6">
                  <c:v>3949392</c:v>
                </c:pt>
                <c:pt idx="7">
                  <c:v>802773</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Boursin</c:v>
                  </c:pt>
                  <c:pt idx="3">
                    <c:v>Paysan Breton</c:v>
                  </c:pt>
                  <c:pt idx="4">
                    <c:v>Tartare</c:v>
                  </c:pt>
                  <c:pt idx="5">
                    <c:v>Carre Frais</c:v>
                  </c:pt>
                  <c:pt idx="6">
                    <c:v>Philadelphia</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FEFDE90-C8DA-4232-9E81-17BEA367B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53F8972-2C2C-45C3-887F-7AF0CFD4B4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DAE73D-1059-471C-A480-AAF188689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F37FDA5-123A-420D-B093-A4398FD72B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F8FA57-507D-44F8-8BA3-B1BCAB3B0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03D6FA0-37E2-483F-82F2-05E2C5DBE4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C2C0487-82B4-4906-BED8-BB670FEC3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A433D65-3AFC-43DF-ADF4-4489507F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87</c:v>
                </c:pt>
                <c:pt idx="1">
                  <c:v>2.2827999999999999</c:v>
                </c:pt>
                <c:pt idx="2">
                  <c:v>2.7042000000000002</c:v>
                </c:pt>
                <c:pt idx="3">
                  <c:v>2.9156</c:v>
                </c:pt>
                <c:pt idx="4">
                  <c:v>3.2122000000000002</c:v>
                </c:pt>
                <c:pt idx="5">
                  <c:v>3.2845</c:v>
                </c:pt>
                <c:pt idx="6">
                  <c:v>2.9792000000000001</c:v>
                </c:pt>
                <c:pt idx="7">
                  <c:v>2.3307000000000002</c:v>
                </c:pt>
              </c:numCache>
            </c:numRef>
          </c:xVal>
          <c:yVal>
            <c:numRef>
              <c:f>Sheet1!$B$2:$B$9</c:f>
              <c:numCache>
                <c:formatCode>General</c:formatCode>
                <c:ptCount val="8"/>
                <c:pt idx="0">
                  <c:v>0.85499999999999998</c:v>
                </c:pt>
                <c:pt idx="1">
                  <c:v>0.82199999999999995</c:v>
                </c:pt>
                <c:pt idx="2">
                  <c:v>1.0820000000000001</c:v>
                </c:pt>
                <c:pt idx="3">
                  <c:v>1.1399999999999999</c:v>
                </c:pt>
                <c:pt idx="4">
                  <c:v>1.1879999999999999</c:v>
                </c:pt>
                <c:pt idx="5">
                  <c:v>0.92500000000000004</c:v>
                </c:pt>
                <c:pt idx="6">
                  <c:v>1.1619999999999999</c:v>
                </c:pt>
                <c:pt idx="7">
                  <c:v>1.3620000000000001</c:v>
                </c:pt>
              </c:numCache>
            </c:numRef>
          </c:yVal>
          <c:bubbleSize>
            <c:numRef>
              <c:f>Sheet1!$C$2:$C$9</c:f>
              <c:numCache>
                <c:formatCode>General</c:formatCode>
                <c:ptCount val="8"/>
                <c:pt idx="0">
                  <c:v>1760863092</c:v>
                </c:pt>
                <c:pt idx="1">
                  <c:v>230947562</c:v>
                </c:pt>
                <c:pt idx="2">
                  <c:v>200738299</c:v>
                </c:pt>
                <c:pt idx="3">
                  <c:v>188621011</c:v>
                </c:pt>
                <c:pt idx="4">
                  <c:v>187705593</c:v>
                </c:pt>
                <c:pt idx="5">
                  <c:v>143118988</c:v>
                </c:pt>
                <c:pt idx="6">
                  <c:v>115028964</c:v>
                </c:pt>
                <c:pt idx="7">
                  <c:v>8176367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St Moret</c:v>
                  </c:pt>
                  <c:pt idx="4">
                    <c:v>Caprice Des Dieux</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2A8490A-0894-44D5-B4D0-E170AAAF4C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5592F6-87BC-4795-BA5F-E11B9CCCD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0F51ED9-26CE-416E-BB9C-527550C83A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63CCD9-D5CF-4216-908C-6DCF0AE4B0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AA0E243-85C2-4C81-AF0D-13851BE31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38ACAC-5DAE-4503-86B0-A6FB66EDA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E8BE607-8F93-4227-BF55-A332476C4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234301-5E9D-4355-BAA1-7A8875881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124000000000001</c:v>
                </c:pt>
                <c:pt idx="1">
                  <c:v>2.2103999999999999</c:v>
                </c:pt>
                <c:pt idx="2">
                  <c:v>2.1956000000000002</c:v>
                </c:pt>
                <c:pt idx="3">
                  <c:v>2.9782000000000002</c:v>
                </c:pt>
                <c:pt idx="4">
                  <c:v>2.7964000000000002</c:v>
                </c:pt>
                <c:pt idx="5">
                  <c:v>2.2454000000000001</c:v>
                </c:pt>
              </c:numCache>
            </c:numRef>
          </c:xVal>
          <c:yVal>
            <c:numRef>
              <c:f>Sheet1!$B$2:$B$7</c:f>
              <c:numCache>
                <c:formatCode>General</c:formatCode>
                <c:ptCount val="6"/>
                <c:pt idx="0">
                  <c:v>0.91100000000000003</c:v>
                </c:pt>
                <c:pt idx="1">
                  <c:v>1.0169999999999999</c:v>
                </c:pt>
                <c:pt idx="2">
                  <c:v>1.163</c:v>
                </c:pt>
                <c:pt idx="3">
                  <c:v>1.099</c:v>
                </c:pt>
                <c:pt idx="4">
                  <c:v>1.5089999999999999</c:v>
                </c:pt>
                <c:pt idx="5">
                  <c:v>1.514</c:v>
                </c:pt>
              </c:numCache>
            </c:numRef>
          </c:yVal>
          <c:bubbleSize>
            <c:numRef>
              <c:f>Sheet1!$C$2:$C$7</c:f>
              <c:numCache>
                <c:formatCode>General</c:formatCode>
                <c:ptCount val="6"/>
                <c:pt idx="0">
                  <c:v>648086880</c:v>
                </c:pt>
                <c:pt idx="1">
                  <c:v>128025062</c:v>
                </c:pt>
                <c:pt idx="2">
                  <c:v>80048487</c:v>
                </c:pt>
                <c:pt idx="3">
                  <c:v>67882460</c:v>
                </c:pt>
                <c:pt idx="4">
                  <c:v>18235670</c:v>
                </c:pt>
                <c:pt idx="5">
                  <c:v>1187022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EEAC3E7-A3AD-4240-85DD-34DFCF8466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EB4AC08-6290-4D98-8920-1B305E7D73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E660D66-2F0E-42F4-9D62-CE0275FD9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595872B-BDE9-4467-A399-8706E90D77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0BE6A2C-016A-49DA-A974-B0101493A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4582C8B-2A0C-48B6-9502-898371127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D70D5B2-5686-46D4-BCDF-C401521E2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EF66982-FB82-4323-98C0-8B17A43336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006</c:v>
                </c:pt>
                <c:pt idx="1">
                  <c:v>2.1936</c:v>
                </c:pt>
                <c:pt idx="2">
                  <c:v>2.3405</c:v>
                </c:pt>
                <c:pt idx="3">
                  <c:v>3.0482</c:v>
                </c:pt>
                <c:pt idx="4">
                  <c:v>2.7654000000000001</c:v>
                </c:pt>
                <c:pt idx="5">
                  <c:v>2.2364000000000002</c:v>
                </c:pt>
              </c:numCache>
            </c:numRef>
          </c:xVal>
          <c:yVal>
            <c:numRef>
              <c:f>Sheet1!$B$2:$B$7</c:f>
              <c:numCache>
                <c:formatCode>General</c:formatCode>
                <c:ptCount val="6"/>
                <c:pt idx="0">
                  <c:v>0.91800000000000004</c:v>
                </c:pt>
                <c:pt idx="1">
                  <c:v>0.94699999999999995</c:v>
                </c:pt>
                <c:pt idx="2">
                  <c:v>1.149</c:v>
                </c:pt>
                <c:pt idx="3">
                  <c:v>1.032</c:v>
                </c:pt>
                <c:pt idx="4">
                  <c:v>1.3859999999999999</c:v>
                </c:pt>
                <c:pt idx="5">
                  <c:v>1.403</c:v>
                </c:pt>
              </c:numCache>
            </c:numRef>
          </c:yVal>
          <c:bubbleSize>
            <c:numRef>
              <c:f>Sheet1!$C$2:$C$7</c:f>
              <c:numCache>
                <c:formatCode>General</c:formatCode>
                <c:ptCount val="6"/>
                <c:pt idx="0">
                  <c:v>111360239</c:v>
                </c:pt>
                <c:pt idx="1">
                  <c:v>19606463</c:v>
                </c:pt>
                <c:pt idx="2">
                  <c:v>15221952</c:v>
                </c:pt>
                <c:pt idx="3">
                  <c:v>12937123</c:v>
                </c:pt>
                <c:pt idx="4">
                  <c:v>3699783</c:v>
                </c:pt>
                <c:pt idx="5">
                  <c:v>31968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A447CC-255D-4389-BB72-F389835B2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933F8AA-409A-4078-87EE-4063835DD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9666D5D-87F0-42B9-91F2-0B1F1B1B3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98E5CD-7B49-4459-A10F-CF34537AED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CC7B0A5-B0F1-4E8A-9B81-D506419225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71B72C-66F6-415C-B8A1-57BDD1EE83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BC903B7-B521-4AE0-91D6-141827314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2579F0A-4826-4690-9D3F-D02C7CEDF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8496999999999999</c:v>
                </c:pt>
                <c:pt idx="1">
                  <c:v>2.2946</c:v>
                </c:pt>
                <c:pt idx="2">
                  <c:v>2.9693999999999998</c:v>
                </c:pt>
                <c:pt idx="3">
                  <c:v>2.3797000000000001</c:v>
                </c:pt>
                <c:pt idx="4">
                  <c:v>2.8961999999999999</c:v>
                </c:pt>
                <c:pt idx="5">
                  <c:v>2.3374000000000001</c:v>
                </c:pt>
              </c:numCache>
            </c:numRef>
          </c:xVal>
          <c:yVal>
            <c:numRef>
              <c:f>Sheet1!$B$2:$B$7</c:f>
              <c:numCache>
                <c:formatCode>General</c:formatCode>
                <c:ptCount val="6"/>
                <c:pt idx="0">
                  <c:v>0.88700000000000001</c:v>
                </c:pt>
                <c:pt idx="1">
                  <c:v>1.0820000000000001</c:v>
                </c:pt>
                <c:pt idx="2">
                  <c:v>1.1160000000000001</c:v>
                </c:pt>
                <c:pt idx="3">
                  <c:v>1.236</c:v>
                </c:pt>
                <c:pt idx="4">
                  <c:v>1.621</c:v>
                </c:pt>
                <c:pt idx="5">
                  <c:v>1.6379999999999999</c:v>
                </c:pt>
              </c:numCache>
            </c:numRef>
          </c:yVal>
          <c:bubbleSize>
            <c:numRef>
              <c:f>Sheet1!$C$2:$C$7</c:f>
              <c:numCache>
                <c:formatCode>General</c:formatCode>
                <c:ptCount val="6"/>
                <c:pt idx="0">
                  <c:v>70217825</c:v>
                </c:pt>
                <c:pt idx="1">
                  <c:v>23364293</c:v>
                </c:pt>
                <c:pt idx="2">
                  <c:v>10441025</c:v>
                </c:pt>
                <c:pt idx="3">
                  <c:v>7314596</c:v>
                </c:pt>
                <c:pt idx="4">
                  <c:v>2904193</c:v>
                </c:pt>
                <c:pt idx="5">
                  <c:v>179431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116E46-8954-45D7-A0BF-2CE26D7F3C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3840D29-0318-466A-90D1-03B399A79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0CB21B-980E-4552-BDDD-06F8CBC9A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4E6066-76D4-46CD-9BB8-2697265A9F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F77931-D09B-47B5-91C5-4C40C394BF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CF0910F-8D69-45D8-8BE3-FCE7F547E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06F66E-7F2E-4917-A10E-3FE246EE08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491879F-A71A-4406-A66A-05D8528205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707999999999999</c:v>
                </c:pt>
                <c:pt idx="1">
                  <c:v>2.9323999999999999</c:v>
                </c:pt>
                <c:pt idx="2">
                  <c:v>2.7601</c:v>
                </c:pt>
                <c:pt idx="3">
                  <c:v>3.1202999999999999</c:v>
                </c:pt>
                <c:pt idx="4">
                  <c:v>2.7181000000000002</c:v>
                </c:pt>
                <c:pt idx="5">
                  <c:v>3.3361000000000001</c:v>
                </c:pt>
                <c:pt idx="6">
                  <c:v>2.2164999999999999</c:v>
                </c:pt>
                <c:pt idx="7">
                  <c:v>2.4727999999999999</c:v>
                </c:pt>
              </c:numCache>
            </c:numRef>
          </c:xVal>
          <c:yVal>
            <c:numRef>
              <c:f>Sheet1!$B$2:$B$9</c:f>
              <c:numCache>
                <c:formatCode>General</c:formatCode>
                <c:ptCount val="8"/>
                <c:pt idx="0">
                  <c:v>0.86599999999999999</c:v>
                </c:pt>
                <c:pt idx="1">
                  <c:v>1.089</c:v>
                </c:pt>
                <c:pt idx="2">
                  <c:v>1.0429999999999999</c:v>
                </c:pt>
                <c:pt idx="3">
                  <c:v>1.194</c:v>
                </c:pt>
                <c:pt idx="4">
                  <c:v>1.103</c:v>
                </c:pt>
                <c:pt idx="5">
                  <c:v>1.2909999999999999</c:v>
                </c:pt>
                <c:pt idx="6">
                  <c:v>1.3129999999999999</c:v>
                </c:pt>
                <c:pt idx="7">
                  <c:v>0.98799999999999999</c:v>
                </c:pt>
              </c:numCache>
            </c:numRef>
          </c:yVal>
          <c:bubbleSize>
            <c:numRef>
              <c:f>Sheet1!$C$2:$C$9</c:f>
              <c:numCache>
                <c:formatCode>General</c:formatCode>
                <c:ptCount val="8"/>
                <c:pt idx="0">
                  <c:v>3555101229</c:v>
                </c:pt>
                <c:pt idx="1">
                  <c:v>1071381011</c:v>
                </c:pt>
                <c:pt idx="2">
                  <c:v>1058642183</c:v>
                </c:pt>
                <c:pt idx="3">
                  <c:v>652929885</c:v>
                </c:pt>
                <c:pt idx="4">
                  <c:v>243932031</c:v>
                </c:pt>
                <c:pt idx="5">
                  <c:v>194494419</c:v>
                </c:pt>
                <c:pt idx="6">
                  <c:v>118795653</c:v>
                </c:pt>
                <c:pt idx="7">
                  <c:v>9895206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Entremont</c:v>
                  </c:pt>
                  <c:pt idx="6">
                    <c:v>Casa Azzurra</c:v>
                  </c:pt>
                  <c:pt idx="7">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EFC324-1ACE-41FE-B96D-CE8F449415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46EDF88-0EFE-49FD-AF33-25939A388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AFF14CB-1992-4C93-AB23-AA18113BB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F56677-CE48-413A-992A-FF077D0DB7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831983-30C4-4E9F-8119-E32C8071BE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5B22B4-1F28-4529-A341-482A742CB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71D7321-711E-41C3-B73D-80D67B2FA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8D7526-33B6-4131-8EA5-F382BF086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4306999999999999</c:v>
                </c:pt>
                <c:pt idx="1">
                  <c:v>2.9798</c:v>
                </c:pt>
                <c:pt idx="2">
                  <c:v>2.8147000000000002</c:v>
                </c:pt>
                <c:pt idx="3">
                  <c:v>3.1238999999999999</c:v>
                </c:pt>
                <c:pt idx="4">
                  <c:v>2.8496000000000001</c:v>
                </c:pt>
                <c:pt idx="5">
                  <c:v>3.2591000000000001</c:v>
                </c:pt>
                <c:pt idx="6">
                  <c:v>2.3866000000000001</c:v>
                </c:pt>
                <c:pt idx="7">
                  <c:v>2.5794999999999999</c:v>
                </c:pt>
              </c:numCache>
            </c:numRef>
          </c:xVal>
          <c:yVal>
            <c:numRef>
              <c:f>Sheet1!$B$2:$B$9</c:f>
              <c:numCache>
                <c:formatCode>General</c:formatCode>
                <c:ptCount val="8"/>
                <c:pt idx="0">
                  <c:v>0.88300000000000001</c:v>
                </c:pt>
                <c:pt idx="1">
                  <c:v>1.0429999999999999</c:v>
                </c:pt>
                <c:pt idx="2">
                  <c:v>0.99399999999999999</c:v>
                </c:pt>
                <c:pt idx="3">
                  <c:v>1.077</c:v>
                </c:pt>
                <c:pt idx="4">
                  <c:v>1.0760000000000001</c:v>
                </c:pt>
                <c:pt idx="5">
                  <c:v>1.2</c:v>
                </c:pt>
                <c:pt idx="6">
                  <c:v>1.3009999999999999</c:v>
                </c:pt>
                <c:pt idx="7">
                  <c:v>0.93500000000000005</c:v>
                </c:pt>
              </c:numCache>
            </c:numRef>
          </c:yVal>
          <c:bubbleSize>
            <c:numRef>
              <c:f>Sheet1!$C$2:$C$9</c:f>
              <c:numCache>
                <c:formatCode>General</c:formatCode>
                <c:ptCount val="8"/>
                <c:pt idx="0">
                  <c:v>498218809</c:v>
                </c:pt>
                <c:pt idx="1">
                  <c:v>180598861</c:v>
                </c:pt>
                <c:pt idx="2">
                  <c:v>164323491</c:v>
                </c:pt>
                <c:pt idx="3">
                  <c:v>124943494</c:v>
                </c:pt>
                <c:pt idx="4">
                  <c:v>40417738</c:v>
                </c:pt>
                <c:pt idx="5">
                  <c:v>23382252</c:v>
                </c:pt>
                <c:pt idx="6">
                  <c:v>21492544</c:v>
                </c:pt>
                <c:pt idx="7">
                  <c:v>17443671</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Entremont</c:v>
                  </c:pt>
                  <c:pt idx="6">
                    <c:v>Casa Azzurra</c:v>
                  </c:pt>
                  <c:pt idx="7">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D5B97A5-31AB-4E29-8A59-0DBBAEC9A8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F5F415A-AC87-4399-B292-6C380084D8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6D8CDF-B086-4C36-B647-A412F09C9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A75361-AFB4-4E04-AF9D-EBE2BCD90E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D90BFC9-3CF3-42EC-98D4-70F000A0E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A09999-A50F-4EAA-B8CE-731F318558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2BEDA2-A2FC-4AA5-AFC5-78652B7A6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0732EAC-244C-434F-AD7D-442468CCB5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2894999999999999</c:v>
                </c:pt>
                <c:pt idx="1">
                  <c:v>2.8675000000000002</c:v>
                </c:pt>
                <c:pt idx="2">
                  <c:v>3.1089000000000002</c:v>
                </c:pt>
                <c:pt idx="3">
                  <c:v>3.1818</c:v>
                </c:pt>
                <c:pt idx="4">
                  <c:v>3.3226</c:v>
                </c:pt>
                <c:pt idx="5">
                  <c:v>2.7464</c:v>
                </c:pt>
                <c:pt idx="6">
                  <c:v>2.1781000000000001</c:v>
                </c:pt>
              </c:numCache>
            </c:numRef>
          </c:xVal>
          <c:yVal>
            <c:numRef>
              <c:f>Sheet1!$B$2:$B$8</c:f>
              <c:numCache>
                <c:formatCode>General</c:formatCode>
                <c:ptCount val="7"/>
                <c:pt idx="0">
                  <c:v>0.85199999999999998</c:v>
                </c:pt>
                <c:pt idx="1">
                  <c:v>1.0580000000000001</c:v>
                </c:pt>
                <c:pt idx="2">
                  <c:v>1.159</c:v>
                </c:pt>
                <c:pt idx="3">
                  <c:v>1.2529999999999999</c:v>
                </c:pt>
                <c:pt idx="4">
                  <c:v>1.323</c:v>
                </c:pt>
                <c:pt idx="5">
                  <c:v>1.1379999999999999</c:v>
                </c:pt>
                <c:pt idx="6">
                  <c:v>1.4590000000000001</c:v>
                </c:pt>
              </c:numCache>
            </c:numRef>
          </c:yVal>
          <c:bubbleSize>
            <c:numRef>
              <c:f>Sheet1!$C$2:$C$8</c:f>
              <c:numCache>
                <c:formatCode>General</c:formatCode>
                <c:ptCount val="7"/>
                <c:pt idx="0">
                  <c:v>635650528</c:v>
                </c:pt>
                <c:pt idx="1">
                  <c:v>238035080</c:v>
                </c:pt>
                <c:pt idx="2">
                  <c:v>195484358</c:v>
                </c:pt>
                <c:pt idx="3">
                  <c:v>109238388</c:v>
                </c:pt>
                <c:pt idx="4">
                  <c:v>66286307</c:v>
                </c:pt>
                <c:pt idx="5">
                  <c:v>43427459</c:v>
                </c:pt>
                <c:pt idx="6">
                  <c:v>14616739</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Savencia</c:v>
                  </c:pt>
                  <c:pt idx="3">
                    <c:v>Bel</c:v>
                  </c:pt>
                  <c:pt idx="4">
                    <c:v>Entremont</c:v>
                  </c:pt>
                  <c:pt idx="5">
                    <c:v>Eurial</c:v>
                  </c:pt>
                  <c:pt idx="6">
                    <c:v>Casa Azzurr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F0DC814-97B1-4888-A644-F8C6163BB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9028E63-4775-43A7-977A-6A5ADB5D31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F5905F3-F501-4110-8371-4050D9174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1CF8FFC-6D79-4CED-A8CA-63A02712AC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7FFCDC-F50F-4872-B490-7E6985FB91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6CB89F6-B077-48C0-B054-C1E462C8A5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670676C-E82E-49E4-85C4-4EB0E69A8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83D8020-150B-4358-9BDA-4B88FBFA1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387</c:v>
                </c:pt>
                <c:pt idx="1">
                  <c:v>2.7644000000000002</c:v>
                </c:pt>
                <c:pt idx="2">
                  <c:v>2.5049999999999999</c:v>
                </c:pt>
                <c:pt idx="3">
                  <c:v>3.0444</c:v>
                </c:pt>
                <c:pt idx="4">
                  <c:v>2.7181999999999999</c:v>
                </c:pt>
                <c:pt idx="5">
                  <c:v>2.4735</c:v>
                </c:pt>
                <c:pt idx="6">
                  <c:v>2.2101999999999999</c:v>
                </c:pt>
              </c:numCache>
            </c:numRef>
          </c:xVal>
          <c:yVal>
            <c:numRef>
              <c:f>Sheet1!$B$2:$B$8</c:f>
              <c:numCache>
                <c:formatCode>General</c:formatCode>
                <c:ptCount val="7"/>
                <c:pt idx="0">
                  <c:v>0.85499999999999998</c:v>
                </c:pt>
                <c:pt idx="1">
                  <c:v>1.044</c:v>
                </c:pt>
                <c:pt idx="2">
                  <c:v>1.032</c:v>
                </c:pt>
                <c:pt idx="3">
                  <c:v>1.173</c:v>
                </c:pt>
                <c:pt idx="4">
                  <c:v>1.0960000000000001</c:v>
                </c:pt>
                <c:pt idx="5">
                  <c:v>1.014</c:v>
                </c:pt>
                <c:pt idx="6">
                  <c:v>1.2869999999999999</c:v>
                </c:pt>
              </c:numCache>
            </c:numRef>
          </c:yVal>
          <c:bubbleSize>
            <c:numRef>
              <c:f>Sheet1!$C$2:$C$8</c:f>
              <c:numCache>
                <c:formatCode>General</c:formatCode>
                <c:ptCount val="7"/>
                <c:pt idx="0">
                  <c:v>1760863092</c:v>
                </c:pt>
                <c:pt idx="1">
                  <c:v>782381468</c:v>
                </c:pt>
                <c:pt idx="2">
                  <c:v>567665049</c:v>
                </c:pt>
                <c:pt idx="3">
                  <c:v>473706304</c:v>
                </c:pt>
                <c:pt idx="4">
                  <c:v>208748541</c:v>
                </c:pt>
                <c:pt idx="5">
                  <c:v>91929908</c:v>
                </c:pt>
                <c:pt idx="6">
                  <c:v>81358477</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31DFE9-9EEC-4389-8122-9DC4C8623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E2CBB68-7FA4-43EB-ADE1-9FC364C44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8DD1FA9-E401-4CB4-93F1-3603C41FE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550C14-92D9-4E34-AB99-1625497AE6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37C6E3-DA88-4F33-8EF2-40DC151B0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193363-6F21-4F70-A510-7653FE50B7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D010BBB-9D29-4B51-8F67-BDAAAFE46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FEDA439-5DE2-4973-89D1-18AB7491E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8267000000000002</c:v>
                </c:pt>
                <c:pt idx="2">
                  <c:v>2.5550000000000002</c:v>
                </c:pt>
                <c:pt idx="3">
                  <c:v>3.0360999999999998</c:v>
                </c:pt>
                <c:pt idx="4">
                  <c:v>2.84</c:v>
                </c:pt>
                <c:pt idx="5">
                  <c:v>2.5825999999999998</c:v>
                </c:pt>
                <c:pt idx="6">
                  <c:v>2.3689</c:v>
                </c:pt>
                <c:pt idx="7">
                  <c:v>2.8247</c:v>
                </c:pt>
              </c:numCache>
            </c:numRef>
          </c:xVal>
          <c:yVal>
            <c:numRef>
              <c:f>Sheet1!$B$2:$B$9</c:f>
              <c:numCache>
                <c:formatCode>General</c:formatCode>
                <c:ptCount val="8"/>
                <c:pt idx="0">
                  <c:v>0.88500000000000001</c:v>
                </c:pt>
                <c:pt idx="1">
                  <c:v>1.016</c:v>
                </c:pt>
                <c:pt idx="2">
                  <c:v>0.96699999999999997</c:v>
                </c:pt>
                <c:pt idx="3">
                  <c:v>1.0329999999999999</c:v>
                </c:pt>
                <c:pt idx="4">
                  <c:v>1.0680000000000001</c:v>
                </c:pt>
                <c:pt idx="5">
                  <c:v>0.96199999999999997</c:v>
                </c:pt>
                <c:pt idx="6">
                  <c:v>1.2749999999999999</c:v>
                </c:pt>
                <c:pt idx="7">
                  <c:v>1.976</c:v>
                </c:pt>
              </c:numCache>
            </c:numRef>
          </c:yVal>
          <c:bubbleSize>
            <c:numRef>
              <c:f>Sheet1!$C$2:$C$9</c:f>
              <c:numCache>
                <c:formatCode>General</c:formatCode>
                <c:ptCount val="8"/>
                <c:pt idx="0">
                  <c:v>263392264</c:v>
                </c:pt>
                <c:pt idx="1">
                  <c:v>138454434</c:v>
                </c:pt>
                <c:pt idx="2">
                  <c:v>96164672</c:v>
                </c:pt>
                <c:pt idx="3">
                  <c:v>91304687</c:v>
                </c:pt>
                <c:pt idx="4">
                  <c:v>35530654</c:v>
                </c:pt>
                <c:pt idx="5">
                  <c:v>17030223</c:v>
                </c:pt>
                <c:pt idx="6">
                  <c:v>15744363</c:v>
                </c:pt>
                <c:pt idx="7">
                  <c:v>829295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76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C9F59B-1BBE-470A-86F9-AA8FD2BB8C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2E2080-16B0-442C-8E8E-2E6E6384B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28B069-1B17-4A06-AAB3-1E885857C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DC9F31-C408-431F-8C6C-C893E56D16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CFDD07D-ECDA-445F-AE31-74F0AC70E1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B19DD9-D136-4EE6-A1E9-11E09258F0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CCDAFE-8B21-424D-B6CF-FBD496175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474C302-5550-4D38-8CD4-7711733CF3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06999999999999</c:v>
                </c:pt>
                <c:pt idx="1">
                  <c:v>2.8250000000000002</c:v>
                </c:pt>
                <c:pt idx="2">
                  <c:v>2.5506000000000002</c:v>
                </c:pt>
                <c:pt idx="3">
                  <c:v>3.0783999999999998</c:v>
                </c:pt>
                <c:pt idx="4">
                  <c:v>2.7532000000000001</c:v>
                </c:pt>
                <c:pt idx="5">
                  <c:v>2.4512999999999998</c:v>
                </c:pt>
                <c:pt idx="6">
                  <c:v>2.3822999999999999</c:v>
                </c:pt>
                <c:pt idx="7">
                  <c:v>2.7042000000000002</c:v>
                </c:pt>
              </c:numCache>
            </c:numRef>
          </c:xVal>
          <c:yVal>
            <c:numRef>
              <c:f>Sheet1!$B$2:$B$9</c:f>
              <c:numCache>
                <c:formatCode>General</c:formatCode>
                <c:ptCount val="8"/>
                <c:pt idx="0">
                  <c:v>0.83699999999999997</c:v>
                </c:pt>
                <c:pt idx="1">
                  <c:v>1.06</c:v>
                </c:pt>
                <c:pt idx="2">
                  <c:v>1.0269999999999999</c:v>
                </c:pt>
                <c:pt idx="3">
                  <c:v>1.21</c:v>
                </c:pt>
                <c:pt idx="4">
                  <c:v>1.097</c:v>
                </c:pt>
                <c:pt idx="5">
                  <c:v>1.0129999999999999</c:v>
                </c:pt>
                <c:pt idx="6">
                  <c:v>1.3080000000000001</c:v>
                </c:pt>
                <c:pt idx="7">
                  <c:v>2.081</c:v>
                </c:pt>
              </c:numCache>
            </c:numRef>
          </c:yVal>
          <c:bubbleSize>
            <c:numRef>
              <c:f>Sheet1!$C$2:$C$9</c:f>
              <c:numCache>
                <c:formatCode>General</c:formatCode>
                <c:ptCount val="8"/>
                <c:pt idx="0">
                  <c:v>189926117</c:v>
                </c:pt>
                <c:pt idx="1">
                  <c:v>121518208</c:v>
                </c:pt>
                <c:pt idx="2">
                  <c:v>89955528</c:v>
                </c:pt>
                <c:pt idx="3">
                  <c:v>74872481</c:v>
                </c:pt>
                <c:pt idx="4">
                  <c:v>33885051</c:v>
                </c:pt>
                <c:pt idx="5">
                  <c:v>12291466</c:v>
                </c:pt>
                <c:pt idx="6">
                  <c:v>7337046</c:v>
                </c:pt>
                <c:pt idx="7">
                  <c:v>5799659</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Laita</c:v>
                  </c:pt>
                  <c:pt idx="6">
                    <c:v>Casa Azzurr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81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889CAD-63C1-4F60-9DB7-710A26824A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C2C3613-A47B-4E82-8291-821064B94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2CA269A-11D8-40CA-B214-9B0BCD8CD5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26926A6-21A5-4479-965F-BA08904FF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F64CAFC-52B6-4F30-BE3D-95844B7277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25E884A-2506-484A-A814-D739882BA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FBC435-B60A-4F34-863C-0F3FC76A8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38F8D2-B334-4C6F-BEA5-E73A2794A0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044999999999998</c:v>
                </c:pt>
                <c:pt idx="1">
                  <c:v>2.1459999999999999</c:v>
                </c:pt>
                <c:pt idx="2">
                  <c:v>2.8138999999999998</c:v>
                </c:pt>
                <c:pt idx="3">
                  <c:v>3.5116999999999998</c:v>
                </c:pt>
              </c:numCache>
            </c:numRef>
          </c:xVal>
          <c:yVal>
            <c:numRef>
              <c:f>Sheet1!$B$2:$B$5</c:f>
              <c:numCache>
                <c:formatCode>General</c:formatCode>
                <c:ptCount val="4"/>
                <c:pt idx="0">
                  <c:v>0.93100000000000005</c:v>
                </c:pt>
                <c:pt idx="1">
                  <c:v>1.1000000000000001</c:v>
                </c:pt>
                <c:pt idx="2">
                  <c:v>1.34</c:v>
                </c:pt>
                <c:pt idx="3">
                  <c:v>1.55</c:v>
                </c:pt>
              </c:numCache>
            </c:numRef>
          </c:yVal>
          <c:bubbleSize>
            <c:numRef>
              <c:f>Sheet1!$C$2:$C$5</c:f>
              <c:numCache>
                <c:formatCode>General</c:formatCode>
                <c:ptCount val="4"/>
                <c:pt idx="0">
                  <c:v>145502087</c:v>
                </c:pt>
                <c:pt idx="1">
                  <c:v>40996160</c:v>
                </c:pt>
                <c:pt idx="2">
                  <c:v>14160014</c:v>
                </c:pt>
                <c:pt idx="3">
                  <c:v>3196808</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A044DB2-B8FF-46E2-810A-DC86A34F30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7CFA7438-7F10-4B27-ACD8-A558A7B46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183B102-2BDB-4411-A5FF-EE10A016E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726DA16-C995-4BCC-B3A6-FAE9A952E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E08FC02-31E5-4B22-AC9D-B110E23769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99775C88-FE8F-4DA8-B360-273F487E8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636045E0-5C0C-4B1A-8467-C5CC26098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11C62549-8C16-4E27-A892-9C1D368E5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6396999999999999</c:v>
                </c:pt>
                <c:pt idx="1">
                  <c:v>2.0247000000000002</c:v>
                </c:pt>
                <c:pt idx="2">
                  <c:v>3.3784000000000001</c:v>
                </c:pt>
                <c:pt idx="3">
                  <c:v>2.8138999999999998</c:v>
                </c:pt>
                <c:pt idx="4">
                  <c:v>2.6101999999999999</c:v>
                </c:pt>
                <c:pt idx="5">
                  <c:v>5.2855999999999996</c:v>
                </c:pt>
              </c:numCache>
            </c:numRef>
          </c:xVal>
          <c:yVal>
            <c:numRef>
              <c:f>Sheet1!$B$2:$B$7</c:f>
              <c:numCache>
                <c:formatCode>General</c:formatCode>
                <c:ptCount val="6"/>
                <c:pt idx="0">
                  <c:v>0.873</c:v>
                </c:pt>
                <c:pt idx="1">
                  <c:v>1.04</c:v>
                </c:pt>
                <c:pt idx="2">
                  <c:v>1.736</c:v>
                </c:pt>
                <c:pt idx="3">
                  <c:v>1.34</c:v>
                </c:pt>
                <c:pt idx="4">
                  <c:v>1.341</c:v>
                </c:pt>
                <c:pt idx="5">
                  <c:v>1.528</c:v>
                </c:pt>
              </c:numCache>
            </c:numRef>
          </c:yVal>
          <c:bubbleSize>
            <c:numRef>
              <c:f>Sheet1!$C$2:$C$7</c:f>
              <c:numCache>
                <c:formatCode>General</c:formatCode>
                <c:ptCount val="6"/>
                <c:pt idx="0">
                  <c:v>127145345</c:v>
                </c:pt>
                <c:pt idx="1">
                  <c:v>30565706</c:v>
                </c:pt>
                <c:pt idx="2">
                  <c:v>18356742</c:v>
                </c:pt>
                <c:pt idx="3">
                  <c:v>14160014</c:v>
                </c:pt>
                <c:pt idx="4">
                  <c:v>10194513</c:v>
                </c:pt>
                <c:pt idx="5">
                  <c:v>215675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90026C-1BEF-4A6A-AAF1-2D2972704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E445569-068D-4E5F-A4E2-2BAB57FB8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632827-90EC-4E51-AEC0-B057A2B6A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AD2C92E-052E-4ADD-9A9C-735D80D76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4C79A01-EA22-4083-9381-9F27A67890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AACA396-9767-4423-8D28-FF9822956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2611DF-71C3-4578-ACC2-73B710108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064A4F7-0061-4D3C-8F42-F279324FE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395999999999998</c:v>
                </c:pt>
                <c:pt idx="1">
                  <c:v>2.1937000000000002</c:v>
                </c:pt>
                <c:pt idx="2">
                  <c:v>3.0528</c:v>
                </c:pt>
                <c:pt idx="3">
                  <c:v>3.2208999999999999</c:v>
                </c:pt>
              </c:numCache>
            </c:numRef>
          </c:xVal>
          <c:yVal>
            <c:numRef>
              <c:f>Sheet1!$B$2:$B$5</c:f>
              <c:numCache>
                <c:formatCode>General</c:formatCode>
                <c:ptCount val="4"/>
                <c:pt idx="0">
                  <c:v>0.93600000000000005</c:v>
                </c:pt>
                <c:pt idx="1">
                  <c:v>1.0529999999999999</c:v>
                </c:pt>
                <c:pt idx="2">
                  <c:v>1.4810000000000001</c:v>
                </c:pt>
                <c:pt idx="3">
                  <c:v>1.732</c:v>
                </c:pt>
              </c:numCache>
            </c:numRef>
          </c:yVal>
          <c:bubbleSize>
            <c:numRef>
              <c:f>Sheet1!$C$2:$C$5</c:f>
              <c:numCache>
                <c:formatCode>General</c:formatCode>
                <c:ptCount val="4"/>
                <c:pt idx="0">
                  <c:v>27317488</c:v>
                </c:pt>
                <c:pt idx="1">
                  <c:v>7126451</c:v>
                </c:pt>
                <c:pt idx="2">
                  <c:v>2136150</c:v>
                </c:pt>
                <c:pt idx="3">
                  <c:v>823561</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3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BFF6BB-A7C6-4510-9788-D72B7CA544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F5B183-8C7D-43D6-BCCD-6549E8AAC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C4A046-55FF-411F-B033-65B303B4A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FCF950D-5A7B-4B15-B010-C36982347D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9A0F6E5-422C-47FB-9184-8E6BF129E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230082-F4A4-4BB1-88A1-E95EB4AF82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070C58F-4BDA-4EF7-A5C1-4BCF35D519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DF82D2E-3778-4338-B88F-9CEC7D583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850000000000001</c:v>
                </c:pt>
                <c:pt idx="1">
                  <c:v>2.3007</c:v>
                </c:pt>
                <c:pt idx="2">
                  <c:v>2.5989</c:v>
                </c:pt>
                <c:pt idx="3">
                  <c:v>2.8252000000000002</c:v>
                </c:pt>
              </c:numCache>
            </c:numRef>
          </c:xVal>
          <c:yVal>
            <c:numRef>
              <c:f>Sheet1!$B$2:$B$5</c:f>
              <c:numCache>
                <c:formatCode>General</c:formatCode>
                <c:ptCount val="4"/>
                <c:pt idx="0">
                  <c:v>0.96</c:v>
                </c:pt>
                <c:pt idx="1">
                  <c:v>1.1910000000000001</c:v>
                </c:pt>
                <c:pt idx="2">
                  <c:v>1.0129999999999999</c:v>
                </c:pt>
                <c:pt idx="3">
                  <c:v>0.81599999999999995</c:v>
                </c:pt>
              </c:numCache>
            </c:numRef>
          </c:yVal>
          <c:bubbleSize>
            <c:numRef>
              <c:f>Sheet1!$C$2:$C$5</c:f>
              <c:numCache>
                <c:formatCode>General</c:formatCode>
                <c:ptCount val="4"/>
                <c:pt idx="0">
                  <c:v>27546975</c:v>
                </c:pt>
                <c:pt idx="1">
                  <c:v>7399108</c:v>
                </c:pt>
                <c:pt idx="2">
                  <c:v>2642649</c:v>
                </c:pt>
                <c:pt idx="3">
                  <c:v>473706</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Entremon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4653AE-796A-4756-B23C-DA81CCE148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F255E9-42E8-4A6E-A0FC-C299A2223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C5027F9-F9E8-478C-9B95-7FAE89FA08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B8DAD52-E4C4-4564-B360-358E33F02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FFB0EBD-519D-4997-B3E8-A5DF64EB05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B2B7D1-1FDB-451F-BD87-F39E813B9C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117E147-13A9-4308-A719-BF13C382D6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1A1E1B0-CAAE-4DD4-9F78-E2EB85C2F3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5449999999999999</c:v>
                </c:pt>
                <c:pt idx="1">
                  <c:v>2.2690999999999999</c:v>
                </c:pt>
                <c:pt idx="2">
                  <c:v>2.0369000000000002</c:v>
                </c:pt>
                <c:pt idx="3">
                  <c:v>2.6968999999999999</c:v>
                </c:pt>
                <c:pt idx="4">
                  <c:v>2.6785000000000001</c:v>
                </c:pt>
              </c:numCache>
            </c:numRef>
          </c:xVal>
          <c:yVal>
            <c:numRef>
              <c:f>Sheet1!$B$2:$B$6</c:f>
              <c:numCache>
                <c:formatCode>General</c:formatCode>
                <c:ptCount val="5"/>
                <c:pt idx="0">
                  <c:v>0.85899999999999999</c:v>
                </c:pt>
                <c:pt idx="1">
                  <c:v>1.206</c:v>
                </c:pt>
                <c:pt idx="2">
                  <c:v>1.206</c:v>
                </c:pt>
                <c:pt idx="3">
                  <c:v>2.4529999999999998</c:v>
                </c:pt>
                <c:pt idx="4">
                  <c:v>1.333</c:v>
                </c:pt>
              </c:numCache>
            </c:numRef>
          </c:yVal>
          <c:bubbleSize>
            <c:numRef>
              <c:f>Sheet1!$C$2:$C$6</c:f>
              <c:numCache>
                <c:formatCode>General</c:formatCode>
                <c:ptCount val="5"/>
                <c:pt idx="0">
                  <c:v>77248377</c:v>
                </c:pt>
                <c:pt idx="1">
                  <c:v>46744152</c:v>
                </c:pt>
                <c:pt idx="2">
                  <c:v>8494332</c:v>
                </c:pt>
                <c:pt idx="3">
                  <c:v>1502633</c:v>
                </c:pt>
                <c:pt idx="4">
                  <c:v>1427623</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pt idx="3">
                    <c:v>Savencia</c:v>
                  </c:pt>
                  <c:pt idx="4">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65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DF260CC-F3E2-4612-B59E-D04CF418B9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FF67F0-2DB9-4D0A-8080-92D680EA7F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1B12CB-0D96-44A6-94EB-65E158AEF8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53B09BAD-AC71-4824-BCE5-8B68CFADD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5C1256B-E789-417A-998D-76A910434C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D14832-D39D-471D-A7A1-946A59C89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112FB1E-3C78-4530-AFA8-98F058795E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13131E6-7A28-4AF0-9B2B-24E96E909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6009</c:v>
                </c:pt>
                <c:pt idx="1">
                  <c:v>2.2061000000000002</c:v>
                </c:pt>
                <c:pt idx="2">
                  <c:v>1.9009</c:v>
                </c:pt>
              </c:numCache>
            </c:numRef>
          </c:xVal>
          <c:yVal>
            <c:numRef>
              <c:f>Sheet1!$B$2:$B$4</c:f>
              <c:numCache>
                <c:formatCode>General</c:formatCode>
                <c:ptCount val="3"/>
                <c:pt idx="0">
                  <c:v>0.84699999999999998</c:v>
                </c:pt>
                <c:pt idx="1">
                  <c:v>1.214</c:v>
                </c:pt>
                <c:pt idx="2">
                  <c:v>1.137</c:v>
                </c:pt>
              </c:numCache>
            </c:numRef>
          </c:yVal>
          <c:bubbleSize>
            <c:numRef>
              <c:f>Sheet1!$C$2:$C$4</c:f>
              <c:numCache>
                <c:formatCode>General</c:formatCode>
                <c:ptCount val="3"/>
                <c:pt idx="0">
                  <c:v>8889711</c:v>
                </c:pt>
                <c:pt idx="1">
                  <c:v>5650276</c:v>
                </c:pt>
                <c:pt idx="2">
                  <c:v>2046452</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1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14F0E79-3714-42ED-825C-5E1C4B8040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2895B3-DBBD-4EF5-BF26-84C3FBBA5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10A03A-FEEF-49A4-A7C2-6C21CF3092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65176F-28EF-45AD-A9DB-1D84CE9AD0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7FB75C9-1973-403B-837A-B0AC531A1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0C2B0B-44F4-44C1-AA58-1512C16B8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D36BEC-2180-4964-ADE5-08B4AA152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5B7731-A67D-4C55-B04E-F02CFE946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2.2442000000000002</c:v>
                </c:pt>
                <c:pt idx="1">
                  <c:v>1.6062000000000001</c:v>
                </c:pt>
                <c:pt idx="2">
                  <c:v>2.6383000000000001</c:v>
                </c:pt>
                <c:pt idx="3">
                  <c:v>2.6158999999999999</c:v>
                </c:pt>
              </c:numCache>
            </c:numRef>
          </c:xVal>
          <c:yVal>
            <c:numRef>
              <c:f>Sheet1!$B$2:$B$5</c:f>
              <c:numCache>
                <c:formatCode>General</c:formatCode>
                <c:ptCount val="4"/>
                <c:pt idx="0">
                  <c:v>1.1479999999999999</c:v>
                </c:pt>
                <c:pt idx="1">
                  <c:v>0.84199999999999997</c:v>
                </c:pt>
                <c:pt idx="2">
                  <c:v>1.423</c:v>
                </c:pt>
                <c:pt idx="3">
                  <c:v>1.3620000000000001</c:v>
                </c:pt>
              </c:numCache>
            </c:numRef>
          </c:yVal>
          <c:bubbleSize>
            <c:numRef>
              <c:f>Sheet1!$C$2:$C$5</c:f>
              <c:numCache>
                <c:formatCode>General</c:formatCode>
                <c:ptCount val="4"/>
                <c:pt idx="0">
                  <c:v>16391501</c:v>
                </c:pt>
                <c:pt idx="1">
                  <c:v>16108620</c:v>
                </c:pt>
                <c:pt idx="2">
                  <c:v>709954</c:v>
                </c:pt>
                <c:pt idx="3">
                  <c:v>454580</c:v>
                </c:pt>
              </c:numCache>
            </c:numRef>
          </c:bubbleSize>
          <c:bubble3D val="0"/>
          <c:extLst>
            <c:ext xmlns:c15="http://schemas.microsoft.com/office/drawing/2012/chart" uri="{02D57815-91ED-43cb-92C2-25804820EDAC}">
              <c15:datalabelsRange>
                <c15:f>Sheet1!$E$2:$E$10</c15:f>
                <c15:dlblRangeCache>
                  <c:ptCount val="9"/>
                  <c:pt idx="0">
                    <c:v>Lactalis</c:v>
                  </c:pt>
                  <c:pt idx="1">
                    <c:v>Mdd</c:v>
                  </c:pt>
                  <c:pt idx="2">
                    <c:v>Bel</c:v>
                  </c:pt>
                  <c:pt idx="3">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274352-6191-402B-8CD0-8B4ACE7482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F97A5C-194D-4E55-8016-070361F8C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EBEB4B-2032-4DE0-AFB3-559B326A58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55D936-0F1B-45D2-AD3C-7CC131B0B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3EC96FF-8DB6-49CA-9269-47544B4A6B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FD84E0D-DECE-4098-BC4D-408E14BD6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6EB307B-245C-4B75-B1DC-20506738E9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D1CE756-1BEA-44DD-9AAB-F4816D1A58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654999999999998</c:v>
                </c:pt>
                <c:pt idx="1">
                  <c:v>2.2181000000000002</c:v>
                </c:pt>
                <c:pt idx="2">
                  <c:v>2.7117</c:v>
                </c:pt>
                <c:pt idx="3">
                  <c:v>3.2099000000000002</c:v>
                </c:pt>
              </c:numCache>
            </c:numRef>
          </c:xVal>
          <c:yVal>
            <c:numRef>
              <c:f>Sheet1!$B$2:$B$5</c:f>
              <c:numCache>
                <c:formatCode>General</c:formatCode>
                <c:ptCount val="4"/>
                <c:pt idx="0">
                  <c:v>1.093</c:v>
                </c:pt>
                <c:pt idx="1">
                  <c:v>0.64400000000000002</c:v>
                </c:pt>
                <c:pt idx="2">
                  <c:v>1.952</c:v>
                </c:pt>
                <c:pt idx="3">
                  <c:v>1.484</c:v>
                </c:pt>
              </c:numCache>
            </c:numRef>
          </c:yVal>
          <c:bubbleSize>
            <c:numRef>
              <c:f>Sheet1!$C$2:$C$5</c:f>
              <c:numCache>
                <c:formatCode>General</c:formatCode>
                <c:ptCount val="4"/>
                <c:pt idx="0">
                  <c:v>386088379</c:v>
                </c:pt>
                <c:pt idx="1">
                  <c:v>100313963</c:v>
                </c:pt>
                <c:pt idx="2">
                  <c:v>40963436</c:v>
                </c:pt>
                <c:pt idx="3">
                  <c:v>11185537</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52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E86C523-694E-4203-93E6-089A380EC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D3BC830-A9F0-4F8B-85CC-2D8F512BC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8993259-FC94-463E-98BE-1B01CF3D38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55BC97C-844F-4DA4-B413-38ACE67216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FC3171C-B0B4-4A55-88B9-B73765EA7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0BF697-745B-4FA8-B5FF-36244C85F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61C1EF7-ECFE-468A-85F0-3251AC8E8D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2129D8D-D3FD-408D-B22B-CD46BFF393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364999999999999</c:v>
                </c:pt>
                <c:pt idx="1">
                  <c:v>2.3189000000000002</c:v>
                </c:pt>
                <c:pt idx="2">
                  <c:v>2.8247</c:v>
                </c:pt>
                <c:pt idx="3">
                  <c:v>3.0143</c:v>
                </c:pt>
              </c:numCache>
            </c:numRef>
          </c:xVal>
          <c:yVal>
            <c:numRef>
              <c:f>Sheet1!$B$2:$B$5</c:f>
              <c:numCache>
                <c:formatCode>General</c:formatCode>
                <c:ptCount val="4"/>
                <c:pt idx="0">
                  <c:v>0.998</c:v>
                </c:pt>
                <c:pt idx="1">
                  <c:v>0.69099999999999995</c:v>
                </c:pt>
                <c:pt idx="2">
                  <c:v>2.008</c:v>
                </c:pt>
                <c:pt idx="3">
                  <c:v>1.619</c:v>
                </c:pt>
              </c:numCache>
            </c:numRef>
          </c:yVal>
          <c:bubbleSize>
            <c:numRef>
              <c:f>Sheet1!$C$2:$C$5</c:f>
              <c:numCache>
                <c:formatCode>General</c:formatCode>
                <c:ptCount val="4"/>
                <c:pt idx="0">
                  <c:v>74315385</c:v>
                </c:pt>
                <c:pt idx="1">
                  <c:v>10731593</c:v>
                </c:pt>
                <c:pt idx="2">
                  <c:v>8292955</c:v>
                </c:pt>
                <c:pt idx="3">
                  <c:v>2021660</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08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0F7017B-151E-4139-B015-F0047E3C0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0857F9-6D06-4914-AB25-D324EFEE2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69767E-7211-43D6-9BE8-B983C98EA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FF7E24-4FBD-4377-921E-5B48519E4F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BE8C10C-7B4A-4139-B3C7-F74A7421F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3CCC9BC-D1B7-49BB-B59D-05D96A3CB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6BDF226-7379-44A1-B569-B37258B480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EC2AB14-A21F-43D7-B3B2-FBEAE57952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3399000000000001</c:v>
                </c:pt>
                <c:pt idx="1">
                  <c:v>2.0585</c:v>
                </c:pt>
                <c:pt idx="2">
                  <c:v>2.7042000000000002</c:v>
                </c:pt>
                <c:pt idx="3">
                  <c:v>3.6595</c:v>
                </c:pt>
              </c:numCache>
            </c:numRef>
          </c:xVal>
          <c:yVal>
            <c:numRef>
              <c:f>Sheet1!$B$2:$B$5</c:f>
              <c:numCache>
                <c:formatCode>General</c:formatCode>
                <c:ptCount val="4"/>
                <c:pt idx="0">
                  <c:v>1.052</c:v>
                </c:pt>
                <c:pt idx="1">
                  <c:v>0.64100000000000001</c:v>
                </c:pt>
                <c:pt idx="2">
                  <c:v>1.871</c:v>
                </c:pt>
                <c:pt idx="3">
                  <c:v>1.278</c:v>
                </c:pt>
              </c:numCache>
            </c:numRef>
          </c:yVal>
          <c:bubbleSize>
            <c:numRef>
              <c:f>Sheet1!$C$2:$C$5</c:f>
              <c:numCache>
                <c:formatCode>General</c:formatCode>
                <c:ptCount val="4"/>
                <c:pt idx="0">
                  <c:v>58267866</c:v>
                </c:pt>
                <c:pt idx="1">
                  <c:v>10594194</c:v>
                </c:pt>
                <c:pt idx="2">
                  <c:v>5799659</c:v>
                </c:pt>
                <c:pt idx="3">
                  <c:v>1522946</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8FCD8E-1934-426B-AF34-07A8B728A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69E92C7-2679-46F7-8096-EF10FE0593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96C4E2-19C7-453A-9BA6-72C49788D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EFE74F-A2B2-47FC-8D34-5A5E1793B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A2E22A-E77E-45A9-92B8-C3CB7BBA8F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74C2556-4D75-4B87-9F14-8F883F015D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AA57CCE-A283-478D-8090-637A9FA0C1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0A5CCF-ACD1-438A-8835-64B07BE2A4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669</c:v>
                </c:pt>
                <c:pt idx="1">
                  <c:v>1.5004999999999999</c:v>
                </c:pt>
                <c:pt idx="2">
                  <c:v>2.4548999999999999</c:v>
                </c:pt>
                <c:pt idx="3">
                  <c:v>2.3610000000000002</c:v>
                </c:pt>
                <c:pt idx="4">
                  <c:v>2.6151</c:v>
                </c:pt>
                <c:pt idx="5">
                  <c:v>1.8693</c:v>
                </c:pt>
              </c:numCache>
            </c:numRef>
          </c:xVal>
          <c:yVal>
            <c:numRef>
              <c:f>Sheet1!$B$2:$B$7</c:f>
              <c:numCache>
                <c:formatCode>General</c:formatCode>
                <c:ptCount val="6"/>
                <c:pt idx="0">
                  <c:v>1.1399999999999999</c:v>
                </c:pt>
                <c:pt idx="1">
                  <c:v>0.68899999999999995</c:v>
                </c:pt>
                <c:pt idx="2">
                  <c:v>1.036</c:v>
                </c:pt>
                <c:pt idx="3">
                  <c:v>1.3440000000000001</c:v>
                </c:pt>
                <c:pt idx="4">
                  <c:v>1.0780000000000001</c:v>
                </c:pt>
                <c:pt idx="5">
                  <c:v>1.1970000000000001</c:v>
                </c:pt>
              </c:numCache>
            </c:numRef>
          </c:yVal>
          <c:bubbleSize>
            <c:numRef>
              <c:f>Sheet1!$C$2:$C$7</c:f>
              <c:numCache>
                <c:formatCode>General</c:formatCode>
                <c:ptCount val="6"/>
                <c:pt idx="0">
                  <c:v>311805774</c:v>
                </c:pt>
                <c:pt idx="1">
                  <c:v>139659774</c:v>
                </c:pt>
                <c:pt idx="2">
                  <c:v>89376920</c:v>
                </c:pt>
                <c:pt idx="3">
                  <c:v>75735671</c:v>
                </c:pt>
                <c:pt idx="4">
                  <c:v>30462743</c:v>
                </c:pt>
                <c:pt idx="5">
                  <c:v>13050020</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4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C12790-FE94-4A44-BC6D-4081F67B8B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616A059-9721-451A-8298-4EEEB45FE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3D2BF70-41FD-4C60-93D0-F7F64C999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71FE34B-B242-4164-A6D7-4DB6D02BB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A0B874-17B8-42A9-A103-F38F86DBD7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5841A5-C679-4A70-B3FA-A6A817304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5A4B60-57B6-4C7E-812B-B8125867E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1F0AC0-B64F-41DE-B8D4-0A974E1277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7488000000000001</c:v>
                </c:pt>
                <c:pt idx="1">
                  <c:v>1.6611</c:v>
                </c:pt>
                <c:pt idx="2">
                  <c:v>2.5202</c:v>
                </c:pt>
                <c:pt idx="3">
                  <c:v>2.4275000000000002</c:v>
                </c:pt>
                <c:pt idx="4">
                  <c:v>2.7534999999999998</c:v>
                </c:pt>
                <c:pt idx="5">
                  <c:v>1.9021999999999999</c:v>
                </c:pt>
              </c:numCache>
            </c:numRef>
          </c:xVal>
          <c:yVal>
            <c:numRef>
              <c:f>Sheet1!$B$2:$B$7</c:f>
              <c:numCache>
                <c:formatCode>General</c:formatCode>
                <c:ptCount val="6"/>
                <c:pt idx="0">
                  <c:v>1.1060000000000001</c:v>
                </c:pt>
                <c:pt idx="1">
                  <c:v>0.69099999999999995</c:v>
                </c:pt>
                <c:pt idx="2">
                  <c:v>0.98799999999999999</c:v>
                </c:pt>
                <c:pt idx="3">
                  <c:v>1.284</c:v>
                </c:pt>
                <c:pt idx="4">
                  <c:v>1.0469999999999999</c:v>
                </c:pt>
                <c:pt idx="5">
                  <c:v>1.0980000000000001</c:v>
                </c:pt>
              </c:numCache>
            </c:numRef>
          </c:yVal>
          <c:bubbleSize>
            <c:numRef>
              <c:f>Sheet1!$C$2:$C$7</c:f>
              <c:numCache>
                <c:formatCode>General</c:formatCode>
                <c:ptCount val="6"/>
                <c:pt idx="0">
                  <c:v>52942622</c:v>
                </c:pt>
                <c:pt idx="1">
                  <c:v>16850297</c:v>
                </c:pt>
                <c:pt idx="2">
                  <c:v>16146099</c:v>
                </c:pt>
                <c:pt idx="3">
                  <c:v>13791858</c:v>
                </c:pt>
                <c:pt idx="4">
                  <c:v>8119796</c:v>
                </c:pt>
                <c:pt idx="5">
                  <c:v>2324858</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74AC32C9-3EF2-4D70-B980-936338639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D749C56-68F4-48BE-9198-5E204A2E56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45E3454F-8A29-4191-872C-D19B8C65A3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433A8B4E-A418-4DAA-978B-B3CFDD58F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C1CDB81-CD18-4DEC-BDA1-09EB9078D3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EA7C3B9-1A08-4A5C-8240-9F65EC3E88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09F6D63-2220-46E8-978D-3F50ED8FA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EFC256A-6430-474E-896B-5CF52D297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449999999999999</c:v>
                </c:pt>
                <c:pt idx="1">
                  <c:v>2.0207000000000002</c:v>
                </c:pt>
                <c:pt idx="2">
                  <c:v>3.448</c:v>
                </c:pt>
                <c:pt idx="3">
                  <c:v>1.873</c:v>
                </c:pt>
                <c:pt idx="4">
                  <c:v>3.58</c:v>
                </c:pt>
                <c:pt idx="5">
                  <c:v>2.5432000000000001</c:v>
                </c:pt>
              </c:numCache>
            </c:numRef>
          </c:xVal>
          <c:yVal>
            <c:numRef>
              <c:f>Sheet1!$B$2:$B$7</c:f>
              <c:numCache>
                <c:formatCode>General</c:formatCode>
                <c:ptCount val="6"/>
                <c:pt idx="0">
                  <c:v>0.85899999999999999</c:v>
                </c:pt>
                <c:pt idx="1">
                  <c:v>1.1160000000000001</c:v>
                </c:pt>
                <c:pt idx="2">
                  <c:v>1.5269999999999999</c:v>
                </c:pt>
                <c:pt idx="3">
                  <c:v>1.145</c:v>
                </c:pt>
                <c:pt idx="4">
                  <c:v>1.4239999999999999</c:v>
                </c:pt>
                <c:pt idx="5">
                  <c:v>1.373</c:v>
                </c:pt>
              </c:numCache>
            </c:numRef>
          </c:yVal>
          <c:bubbleSize>
            <c:numRef>
              <c:f>Sheet1!$C$2:$C$7</c:f>
              <c:numCache>
                <c:formatCode>General</c:formatCode>
                <c:ptCount val="6"/>
                <c:pt idx="0">
                  <c:v>77248377</c:v>
                </c:pt>
                <c:pt idx="1">
                  <c:v>34203912</c:v>
                </c:pt>
                <c:pt idx="2">
                  <c:v>8572561</c:v>
                </c:pt>
                <c:pt idx="3">
                  <c:v>5901619</c:v>
                </c:pt>
                <c:pt idx="4">
                  <c:v>2984383</c:v>
                </c:pt>
                <c:pt idx="5">
                  <c:v>259271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La Vache Qui Rit</c:v>
                  </c:pt>
                  <c:pt idx="4">
                    <c:v>Raguin</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0CF8DC-A63F-4778-B8B4-03F936A5F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2C8A00F-BA94-43DD-B4A5-496550A9B1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E8B7DED-D664-4BC7-8363-FE682052F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C585B60-7A52-4807-827A-CC034D265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05D794-2716-4739-A69F-80CC004C1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97CD3D-6B87-49F6-9A52-7F289DF7B4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4D97FA-54D1-4434-808F-0109F68B2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85C2EF0-0391-48F7-BDB6-9D010B5E65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113999999999998</c:v>
                </c:pt>
                <c:pt idx="1">
                  <c:v>2.4247999999999998</c:v>
                </c:pt>
                <c:pt idx="2">
                  <c:v>1.4523999999999999</c:v>
                </c:pt>
                <c:pt idx="3">
                  <c:v>2.4521999999999999</c:v>
                </c:pt>
                <c:pt idx="4">
                  <c:v>2.4449999999999998</c:v>
                </c:pt>
              </c:numCache>
            </c:numRef>
          </c:xVal>
          <c:yVal>
            <c:numRef>
              <c:f>Sheet1!$B$2:$B$6</c:f>
              <c:numCache>
                <c:formatCode>General</c:formatCode>
                <c:ptCount val="5"/>
                <c:pt idx="0">
                  <c:v>1.0900000000000001</c:v>
                </c:pt>
                <c:pt idx="1">
                  <c:v>1.2869999999999999</c:v>
                </c:pt>
                <c:pt idx="2">
                  <c:v>0.67800000000000005</c:v>
                </c:pt>
                <c:pt idx="3">
                  <c:v>0.97599999999999998</c:v>
                </c:pt>
                <c:pt idx="4">
                  <c:v>0.96699999999999997</c:v>
                </c:pt>
              </c:numCache>
            </c:numRef>
          </c:yVal>
          <c:bubbleSize>
            <c:numRef>
              <c:f>Sheet1!$C$2:$C$6</c:f>
              <c:numCache>
                <c:formatCode>General</c:formatCode>
                <c:ptCount val="5"/>
                <c:pt idx="0">
                  <c:v>49191517</c:v>
                </c:pt>
                <c:pt idx="1">
                  <c:v>14810297</c:v>
                </c:pt>
                <c:pt idx="2">
                  <c:v>14481315</c:v>
                </c:pt>
                <c:pt idx="3">
                  <c:v>12117994</c:v>
                </c:pt>
                <c:pt idx="4">
                  <c:v>3949392</c:v>
                </c:pt>
              </c:numCache>
            </c:numRef>
          </c:bubbleSize>
          <c:bubble3D val="0"/>
          <c:extLst>
            <c:ext xmlns:c15="http://schemas.microsoft.com/office/drawing/2012/chart" uri="{02D57815-91ED-43cb-92C2-25804820EDAC}">
              <c15:datalabelsRange>
                <c15:f>Sheet1!$E$2:$E$10</c15:f>
                <c15:dlblRangeCache>
                  <c:ptCount val="9"/>
                  <c:pt idx="0">
                    <c:v>Savencia</c:v>
                  </c:pt>
                  <c:pt idx="1">
                    <c:v>Bel</c:v>
                  </c:pt>
                  <c:pt idx="2">
                    <c:v>Mdd</c:v>
                  </c:pt>
                  <c:pt idx="3">
                    <c:v>Laita</c:v>
                  </c:pt>
                  <c:pt idx="4">
                    <c:v>Mondele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8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29A1EDD-4595-48FE-AD62-9135C61DF1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DD2326-FF73-4E8F-A748-4739A18DCF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A88270F-1351-4206-9D8B-362D487F26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49A064-A0F1-441F-8CE8-E038AD6539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F68231-FC10-4008-B3BC-D137F4709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D7683D8-2ED0-4C57-A30F-1FA0D1CE88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D1C30F-564C-4071-8E7E-2704D43814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79F4AE7-853C-4AD9-B720-8659262EC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124000000000001</c:v>
                </c:pt>
                <c:pt idx="1">
                  <c:v>2.4342000000000001</c:v>
                </c:pt>
                <c:pt idx="2">
                  <c:v>2.2101999999999999</c:v>
                </c:pt>
                <c:pt idx="3">
                  <c:v>2.7967</c:v>
                </c:pt>
                <c:pt idx="4">
                  <c:v>2.2454000000000001</c:v>
                </c:pt>
              </c:numCache>
            </c:numRef>
          </c:xVal>
          <c:yVal>
            <c:numRef>
              <c:f>Sheet1!$B$2:$B$6</c:f>
              <c:numCache>
                <c:formatCode>General</c:formatCode>
                <c:ptCount val="5"/>
                <c:pt idx="0">
                  <c:v>0.91100000000000003</c:v>
                </c:pt>
                <c:pt idx="1">
                  <c:v>1.0489999999999999</c:v>
                </c:pt>
                <c:pt idx="2">
                  <c:v>1.1659999999999999</c:v>
                </c:pt>
                <c:pt idx="3">
                  <c:v>1.5089999999999999</c:v>
                </c:pt>
                <c:pt idx="4">
                  <c:v>1.514</c:v>
                </c:pt>
              </c:numCache>
            </c:numRef>
          </c:yVal>
          <c:bubbleSize>
            <c:numRef>
              <c:f>Sheet1!$C$2:$C$6</c:f>
              <c:numCache>
                <c:formatCode>General</c:formatCode>
                <c:ptCount val="5"/>
                <c:pt idx="0">
                  <c:v>648086880</c:v>
                </c:pt>
                <c:pt idx="1">
                  <c:v>198807792</c:v>
                </c:pt>
                <c:pt idx="2">
                  <c:v>81358477</c:v>
                </c:pt>
                <c:pt idx="3">
                  <c:v>18299013</c:v>
                </c:pt>
                <c:pt idx="4">
                  <c:v>11870220</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E19152-B02C-4C80-A63C-7BF11BF8F1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31F1B2-E364-4772-8499-55199ACACF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1B1B9D-836B-48C3-83A1-F9FAFECBFE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E8BE995-15C4-47C6-9BA0-F2475B6E0C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D531B9-68FA-448F-BF70-EBC5FC19A2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DF136F8-65C7-4BC5-AAD4-05EBF85355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CDBE99E-CD2F-40B5-8580-4F6AEA8DD2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892BC6A-6A62-4DF8-A3BD-B899F59EEA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1006</c:v>
                </c:pt>
                <c:pt idx="1">
                  <c:v>2.4796999999999998</c:v>
                </c:pt>
                <c:pt idx="2">
                  <c:v>2.3689</c:v>
                </c:pt>
                <c:pt idx="3">
                  <c:v>2.7690999999999999</c:v>
                </c:pt>
                <c:pt idx="4">
                  <c:v>2.2364000000000002</c:v>
                </c:pt>
              </c:numCache>
            </c:numRef>
          </c:xVal>
          <c:yVal>
            <c:numRef>
              <c:f>Sheet1!$B$2:$B$6</c:f>
              <c:numCache>
                <c:formatCode>General</c:formatCode>
                <c:ptCount val="5"/>
                <c:pt idx="0">
                  <c:v>0.91800000000000004</c:v>
                </c:pt>
                <c:pt idx="1">
                  <c:v>0.98599999999999999</c:v>
                </c:pt>
                <c:pt idx="2">
                  <c:v>1.1519999999999999</c:v>
                </c:pt>
                <c:pt idx="3">
                  <c:v>1.3879999999999999</c:v>
                </c:pt>
                <c:pt idx="4">
                  <c:v>1.403</c:v>
                </c:pt>
              </c:numCache>
            </c:numRef>
          </c:yVal>
          <c:bubbleSize>
            <c:numRef>
              <c:f>Sheet1!$C$2:$C$6</c:f>
              <c:numCache>
                <c:formatCode>General</c:formatCode>
                <c:ptCount val="5"/>
                <c:pt idx="0">
                  <c:v>111360239</c:v>
                </c:pt>
                <c:pt idx="1">
                  <c:v>33077245</c:v>
                </c:pt>
                <c:pt idx="2">
                  <c:v>15744363</c:v>
                </c:pt>
                <c:pt idx="3">
                  <c:v>3748285</c:v>
                </c:pt>
                <c:pt idx="4">
                  <c:v>3196825</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A248CF-F84F-4C86-86FC-D6D03E43F7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C4A754-9237-4D50-AC1B-C6D247986D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66E3287-5623-47A9-90B0-40CCE1941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4BE49E4-1D4A-4D3D-A436-B8A76C4FC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BCFE97-4D2B-434D-A012-F70E517C3A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60900DD-A1FD-427C-9B2B-AD95649DD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3946683-1686-4C6D-A9F5-DC66A2667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825C328-FC41-488E-A22F-239B7075E8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8496999999999999</c:v>
                </c:pt>
                <c:pt idx="1">
                  <c:v>2.4710999999999999</c:v>
                </c:pt>
                <c:pt idx="2">
                  <c:v>2.3822999999999999</c:v>
                </c:pt>
                <c:pt idx="3">
                  <c:v>2.8946000000000001</c:v>
                </c:pt>
                <c:pt idx="4">
                  <c:v>2.3374000000000001</c:v>
                </c:pt>
              </c:numCache>
            </c:numRef>
          </c:xVal>
          <c:yVal>
            <c:numRef>
              <c:f>Sheet1!$B$2:$B$6</c:f>
              <c:numCache>
                <c:formatCode>General</c:formatCode>
                <c:ptCount val="5"/>
                <c:pt idx="0">
                  <c:v>0.88700000000000001</c:v>
                </c:pt>
                <c:pt idx="1">
                  <c:v>1.095</c:v>
                </c:pt>
                <c:pt idx="2">
                  <c:v>1.236</c:v>
                </c:pt>
                <c:pt idx="3">
                  <c:v>1.621</c:v>
                </c:pt>
                <c:pt idx="4">
                  <c:v>1.6379999999999999</c:v>
                </c:pt>
              </c:numCache>
            </c:numRef>
          </c:yVal>
          <c:bubbleSize>
            <c:numRef>
              <c:f>Sheet1!$C$2:$C$6</c:f>
              <c:numCache>
                <c:formatCode>General</c:formatCode>
                <c:ptCount val="5"/>
                <c:pt idx="0">
                  <c:v>70217825</c:v>
                </c:pt>
                <c:pt idx="1">
                  <c:v>34039289</c:v>
                </c:pt>
                <c:pt idx="2">
                  <c:v>7337046</c:v>
                </c:pt>
                <c:pt idx="3">
                  <c:v>2911001</c:v>
                </c:pt>
                <c:pt idx="4">
                  <c:v>1794318</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11.9</c:v>
                </c:pt>
                <c:pt idx="2">
                  <c:v>668.4</c:v>
                </c:pt>
                <c:pt idx="3">
                  <c:v>75.7</c:v>
                </c:pt>
                <c:pt idx="4">
                  <c:v>541.5</c:v>
                </c:pt>
                <c:pt idx="5">
                  <c:v>386.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B5E-4093-9124-A43E50D8F5B4}"/>
                </c:ext>
              </c:extLst>
            </c:dLbl>
            <c:dLbl>
              <c:idx val="5"/>
              <c:tx>
                <c:rich>
                  <a:bodyPr/>
                  <a:lstStyle/>
                  <a:p>
                    <a:r>
                      <a:t>12.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B5E-4093-9124-A43E50D8F5B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18.715699999999998</c:v>
                </c:pt>
                <c:pt idx="2">
                  <c:v>11.0938</c:v>
                </c:pt>
                <c:pt idx="3">
                  <c:v>14.914300000000001</c:v>
                </c:pt>
                <c:pt idx="4">
                  <c:v>11.6403</c:v>
                </c:pt>
                <c:pt idx="5">
                  <c:v>12.7174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3.2</c:v>
                </c:pt>
                <c:pt idx="2">
                  <c:v>111.9</c:v>
                </c:pt>
                <c:pt idx="3">
                  <c:v>13.8</c:v>
                </c:pt>
                <c:pt idx="4">
                  <c:v>95.4</c:v>
                </c:pt>
                <c:pt idx="5">
                  <c:v>74.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8FE-4BA6-BB44-5176EF4772DB}"/>
                </c:ext>
              </c:extLst>
            </c:dLbl>
            <c:dLbl>
              <c:idx val="5"/>
              <c:tx>
                <c:rich>
                  <a:bodyPr/>
                  <a:lstStyle/>
                  <a:p>
                    <a:r>
                      <a:t>1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8FE-4BA6-BB44-5176EF4772D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18.670000000000002</c:v>
                </c:pt>
                <c:pt idx="2">
                  <c:v>12.0724</c:v>
                </c:pt>
                <c:pt idx="3">
                  <c:v>15.504799999999999</c:v>
                </c:pt>
                <c:pt idx="4">
                  <c:v>11.825200000000001</c:v>
                </c:pt>
                <c:pt idx="5">
                  <c:v>11.8036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1.8</c:v>
                </c:pt>
                <c:pt idx="2">
                  <c:v>95</c:v>
                </c:pt>
                <c:pt idx="3">
                  <c:v>14.8</c:v>
                </c:pt>
                <c:pt idx="4">
                  <c:v>76.2</c:v>
                </c:pt>
                <c:pt idx="5">
                  <c:v>58.3</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693-4B9A-9FA6-D69C09C423FB}"/>
                </c:ext>
              </c:extLst>
            </c:dLbl>
            <c:dLbl>
              <c:idx val="5"/>
              <c:tx>
                <c:rich>
                  <a:bodyPr/>
                  <a:lstStyle/>
                  <a:p>
                    <a:r>
                      <a:t>13.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693-4B9A-9FA6-D69C09C423F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19.544699999999999</c:v>
                </c:pt>
                <c:pt idx="2">
                  <c:v>11.738200000000001</c:v>
                </c:pt>
                <c:pt idx="3">
                  <c:v>15.1084</c:v>
                </c:pt>
                <c:pt idx="4">
                  <c:v>12.538</c:v>
                </c:pt>
                <c:pt idx="5">
                  <c:v>13.193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0</c:v>
                </c:pt>
                <c:pt idx="2">
                  <c:v>668.4</c:v>
                </c:pt>
                <c:pt idx="3">
                  <c:v>5.8</c:v>
                </c:pt>
                <c:pt idx="4">
                  <c:v>541.5</c:v>
                </c:pt>
                <c:pt idx="5">
                  <c:v>109.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3EC-4ADD-BB3F-1C9E70E1E453}"/>
                </c:ext>
              </c:extLst>
            </c:dLbl>
            <c:dLbl>
              <c:idx val="5"/>
              <c:tx>
                <c:rich>
                  <a:bodyPr/>
                  <a:lstStyle/>
                  <a:p>
                    <a:r>
                      <a:t>1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3EC-4ADD-BB3F-1C9E70E1E45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0</c:v>
                </c:pt>
                <c:pt idx="2">
                  <c:v>11.0938</c:v>
                </c:pt>
                <c:pt idx="3">
                  <c:v>16.807700000000001</c:v>
                </c:pt>
                <c:pt idx="4">
                  <c:v>11.6403</c:v>
                </c:pt>
                <c:pt idx="5">
                  <c:v>12.8524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0</c:v>
                </c:pt>
                <c:pt idx="2">
                  <c:v>668.4</c:v>
                </c:pt>
                <c:pt idx="3">
                  <c:v>0</c:v>
                </c:pt>
                <c:pt idx="4">
                  <c:v>541.5</c:v>
                </c:pt>
                <c:pt idx="5">
                  <c:v>143.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B74-4893-9F95-45D52C350EDF}"/>
                </c:ext>
              </c:extLst>
            </c:dLbl>
            <c:dLbl>
              <c:idx val="5"/>
              <c:tx>
                <c:rich>
                  <a:bodyPr/>
                  <a:lstStyle/>
                  <a:p>
                    <a:r>
                      <a:t>10.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B74-4893-9F95-45D52C350ED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0</c:v>
                </c:pt>
                <c:pt idx="2">
                  <c:v>11.0938</c:v>
                </c:pt>
                <c:pt idx="3">
                  <c:v>8.8888999999999996</c:v>
                </c:pt>
                <c:pt idx="4">
                  <c:v>11.6403</c:v>
                </c:pt>
                <c:pt idx="5">
                  <c:v>10.3515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059.4000000000001</c:v>
                </c:pt>
                <c:pt idx="1">
                  <c:v>11.9</c:v>
                </c:pt>
                <c:pt idx="2">
                  <c:v>668.4</c:v>
                </c:pt>
                <c:pt idx="3">
                  <c:v>69.900000000000006</c:v>
                </c:pt>
                <c:pt idx="4">
                  <c:v>541.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930-43FE-8748-3C869A0A93A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930-43FE-8748-3C869A0A93A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3581</c:v>
                </c:pt>
                <c:pt idx="1">
                  <c:v>18.715699999999998</c:v>
                </c:pt>
                <c:pt idx="2">
                  <c:v>11.0938</c:v>
                </c:pt>
                <c:pt idx="3">
                  <c:v>14.7752</c:v>
                </c:pt>
                <c:pt idx="4">
                  <c:v>11.6403</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42F323-6F3B-4E1B-B299-079C5A748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D0BF57E-3952-4EE0-B418-9EA18EE63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A77282D-3F78-4DD9-A7A7-10CF20933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597C52-9C0E-480C-B4CF-F711C23BB3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B06DAC-4045-468F-8227-88A7706B31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4035B2-1828-4E4B-9F8D-533AE4612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65B0094-910F-4213-A39F-B17784623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B60D59-9890-48DD-BF02-750DEC752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9</c:v>
                </c:pt>
                <c:pt idx="1">
                  <c:v>2.3527999999999998</c:v>
                </c:pt>
                <c:pt idx="2">
                  <c:v>2.8315000000000001</c:v>
                </c:pt>
                <c:pt idx="3">
                  <c:v>3.2755999999999998</c:v>
                </c:pt>
                <c:pt idx="4">
                  <c:v>3.0144000000000002</c:v>
                </c:pt>
                <c:pt idx="5">
                  <c:v>3.2692000000000001</c:v>
                </c:pt>
                <c:pt idx="6">
                  <c:v>2.9653</c:v>
                </c:pt>
                <c:pt idx="7">
                  <c:v>2.3641999999999999</c:v>
                </c:pt>
              </c:numCache>
            </c:numRef>
          </c:xVal>
          <c:yVal>
            <c:numRef>
              <c:f>Sheet1!$B$2:$B$9</c:f>
              <c:numCache>
                <c:formatCode>General</c:formatCode>
                <c:ptCount val="8"/>
                <c:pt idx="0">
                  <c:v>0.88500000000000001</c:v>
                </c:pt>
                <c:pt idx="1">
                  <c:v>0.77700000000000002</c:v>
                </c:pt>
                <c:pt idx="2">
                  <c:v>1.0529999999999999</c:v>
                </c:pt>
                <c:pt idx="3">
                  <c:v>1.1479999999999999</c:v>
                </c:pt>
                <c:pt idx="4">
                  <c:v>1.137</c:v>
                </c:pt>
                <c:pt idx="5">
                  <c:v>0.80200000000000005</c:v>
                </c:pt>
                <c:pt idx="6">
                  <c:v>1.04</c:v>
                </c:pt>
                <c:pt idx="7">
                  <c:v>1.3220000000000001</c:v>
                </c:pt>
              </c:numCache>
            </c:numRef>
          </c:yVal>
          <c:bubbleSize>
            <c:numRef>
              <c:f>Sheet1!$C$2:$C$9</c:f>
              <c:numCache>
                <c:formatCode>General</c:formatCode>
                <c:ptCount val="8"/>
                <c:pt idx="0">
                  <c:v>263392264</c:v>
                </c:pt>
                <c:pt idx="1">
                  <c:v>39509333</c:v>
                </c:pt>
                <c:pt idx="2">
                  <c:v>34407631</c:v>
                </c:pt>
                <c:pt idx="3">
                  <c:v>32529804</c:v>
                </c:pt>
                <c:pt idx="4">
                  <c:v>30956719</c:v>
                </c:pt>
                <c:pt idx="5">
                  <c:v>30468388</c:v>
                </c:pt>
                <c:pt idx="6">
                  <c:v>22816387</c:v>
                </c:pt>
                <c:pt idx="7">
                  <c:v>1540549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oignon</c:v>
                  </c:pt>
                  <c:pt idx="3">
                    <c:v>Caprice Des Dieux</c:v>
                  </c:pt>
                  <c:pt idx="4">
                    <c:v>St Moret</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0</c:v>
                </c:pt>
                <c:pt idx="2">
                  <c:v>111.9</c:v>
                </c:pt>
                <c:pt idx="3">
                  <c:v>1.6</c:v>
                </c:pt>
                <c:pt idx="4">
                  <c:v>95.4</c:v>
                </c:pt>
                <c:pt idx="5">
                  <c:v>2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A25-4F5B-A99E-864DE5F708B4}"/>
                </c:ext>
              </c:extLst>
            </c:dLbl>
            <c:dLbl>
              <c:idx val="5"/>
              <c:tx>
                <c:rich>
                  <a:bodyPr/>
                  <a:lstStyle/>
                  <a:p>
                    <a:r>
                      <a:t>1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5A25-4F5B-A99E-864DE5F708B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0</c:v>
                </c:pt>
                <c:pt idx="2">
                  <c:v>12.0724</c:v>
                </c:pt>
                <c:pt idx="3">
                  <c:v>17.313099999999999</c:v>
                </c:pt>
                <c:pt idx="4">
                  <c:v>11.825200000000001</c:v>
                </c:pt>
                <c:pt idx="5">
                  <c:v>12.2512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0</c:v>
                </c:pt>
                <c:pt idx="2">
                  <c:v>111.9</c:v>
                </c:pt>
                <c:pt idx="3">
                  <c:v>0</c:v>
                </c:pt>
                <c:pt idx="4">
                  <c:v>95.4</c:v>
                </c:pt>
                <c:pt idx="5">
                  <c:v>3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EFA-45F3-92BF-5390DC7F3771}"/>
                </c:ext>
              </c:extLst>
            </c:dLbl>
            <c:dLbl>
              <c:idx val="5"/>
              <c:tx>
                <c:rich>
                  <a:bodyPr/>
                  <a:lstStyle/>
                  <a:p>
                    <a:r>
                      <a:t>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EFA-45F3-92BF-5390DC7F377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0</c:v>
                </c:pt>
                <c:pt idx="2">
                  <c:v>12.0724</c:v>
                </c:pt>
                <c:pt idx="3">
                  <c:v>8.8888999999999996</c:v>
                </c:pt>
                <c:pt idx="4">
                  <c:v>11.825200000000001</c:v>
                </c:pt>
                <c:pt idx="5">
                  <c:v>9.641400000000000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91.4</c:v>
                </c:pt>
                <c:pt idx="1">
                  <c:v>3.2</c:v>
                </c:pt>
                <c:pt idx="2">
                  <c:v>111.9</c:v>
                </c:pt>
                <c:pt idx="3">
                  <c:v>12.2</c:v>
                </c:pt>
                <c:pt idx="4">
                  <c:v>95.4</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1.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981-462B-ADC4-3540F0A401C1}"/>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981-462B-ADC4-3540F0A401C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3.3095</c:v>
                </c:pt>
                <c:pt idx="1">
                  <c:v>18.670000000000002</c:v>
                </c:pt>
                <c:pt idx="2">
                  <c:v>12.0724</c:v>
                </c:pt>
                <c:pt idx="3">
                  <c:v>15.297700000000001</c:v>
                </c:pt>
                <c:pt idx="4">
                  <c:v>11.8252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0</c:v>
                </c:pt>
                <c:pt idx="2">
                  <c:v>95</c:v>
                </c:pt>
                <c:pt idx="3">
                  <c:v>0.8</c:v>
                </c:pt>
                <c:pt idx="4">
                  <c:v>76.2</c:v>
                </c:pt>
                <c:pt idx="5">
                  <c:v>16.3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1AD-4CE6-8301-12D530C7E925}"/>
                </c:ext>
              </c:extLst>
            </c:dLbl>
            <c:dLbl>
              <c:idx val="5"/>
              <c:tx>
                <c:rich>
                  <a:bodyPr/>
                  <a:lstStyle/>
                  <a:p>
                    <a:r>
                      <a:t>13.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1AD-4CE6-8301-12D530C7E92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0</c:v>
                </c:pt>
                <c:pt idx="2">
                  <c:v>11.738200000000001</c:v>
                </c:pt>
                <c:pt idx="3">
                  <c:v>17.801400000000001</c:v>
                </c:pt>
                <c:pt idx="4">
                  <c:v>12.538</c:v>
                </c:pt>
                <c:pt idx="5">
                  <c:v>13.452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0</c:v>
                </c:pt>
                <c:pt idx="2">
                  <c:v>95</c:v>
                </c:pt>
                <c:pt idx="3">
                  <c:v>0</c:v>
                </c:pt>
                <c:pt idx="4">
                  <c:v>76.2</c:v>
                </c:pt>
                <c:pt idx="5">
                  <c:v>22.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631-49DC-81D6-2EA622DD21C3}"/>
                </c:ext>
              </c:extLst>
            </c:dLbl>
            <c:dLbl>
              <c:idx val="5"/>
              <c:tx>
                <c:rich>
                  <a:bodyPr/>
                  <a:lstStyle/>
                  <a:p>
                    <a:r>
                      <a:t>10.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631-49DC-81D6-2EA622DD21C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0</c:v>
                </c:pt>
                <c:pt idx="2">
                  <c:v>11.738200000000001</c:v>
                </c:pt>
                <c:pt idx="3">
                  <c:v>0</c:v>
                </c:pt>
                <c:pt idx="4">
                  <c:v>12.538</c:v>
                </c:pt>
                <c:pt idx="5">
                  <c:v>10.875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122.8</c:v>
                </c:pt>
                <c:pt idx="1">
                  <c:v>1.8</c:v>
                </c:pt>
                <c:pt idx="2">
                  <c:v>95</c:v>
                </c:pt>
                <c:pt idx="3">
                  <c:v>14</c:v>
                </c:pt>
                <c:pt idx="4">
                  <c:v>76.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3A96-4FAA-90F5-53137631505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3A96-4FAA-90F5-53137631505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1.93</c:v>
                </c:pt>
                <c:pt idx="1">
                  <c:v>19.544699999999999</c:v>
                </c:pt>
                <c:pt idx="2">
                  <c:v>11.738200000000001</c:v>
                </c:pt>
                <c:pt idx="3">
                  <c:v>14.9786</c:v>
                </c:pt>
                <c:pt idx="4">
                  <c:v>12.53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BC74-4D10-A217-C514C472235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BC74-4D10-A217-C514C4722356}"/>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4439.7</c:v>
                </c:pt>
                <c:pt idx="1">
                  <c:v>115</c:v>
                </c:pt>
                <c:pt idx="2">
                  <c:v>977.4</c:v>
                </c:pt>
                <c:pt idx="3">
                  <c:v>0</c:v>
                </c:pt>
                <c:pt idx="4">
                  <c:v>551.70000000000005</c:v>
                </c:pt>
                <c:pt idx="5">
                  <c:v>0</c:v>
                </c:pt>
                <c:pt idx="6">
                  <c:v>492.1</c:v>
                </c:pt>
                <c:pt idx="7">
                  <c:v>0</c:v>
                </c:pt>
                <c:pt idx="8">
                  <c:v>460</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BC74-4D10-A217-C514C4722356}"/>
                </c:ext>
              </c:extLst>
            </c:dLbl>
            <c:dLbl>
              <c:idx val="1"/>
              <c:tx>
                <c:rich>
                  <a:bodyPr/>
                  <a:lstStyle/>
                  <a:p>
                    <a:r>
                      <a:t>13.0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C74-4D10-A217-C514C4722356}"/>
                </c:ext>
              </c:extLst>
            </c:dLbl>
            <c:dLbl>
              <c:idx val="2"/>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BC74-4D10-A217-C514C472235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C74-4D10-A217-C514C4722356}"/>
                </c:ext>
              </c:extLst>
            </c:dLbl>
            <c:dLbl>
              <c:idx val="4"/>
              <c:tx>
                <c:rich>
                  <a:bodyPr/>
                  <a:lstStyle/>
                  <a:p>
                    <a:r>
                      <a:t>12.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BC74-4D10-A217-C514C472235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C74-4D10-A217-C514C4722356}"/>
                </c:ext>
              </c:extLst>
            </c:dLbl>
            <c:dLbl>
              <c:idx val="6"/>
              <c:tx>
                <c:rich>
                  <a:bodyPr/>
                  <a:lstStyle/>
                  <a:p>
                    <a:r>
                      <a:t>1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BC74-4D10-A217-C514C472235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C74-4D10-A217-C514C4722356}"/>
                </c:ext>
              </c:extLst>
            </c:dLbl>
            <c:dLbl>
              <c:idx val="8"/>
              <c:tx>
                <c:rich>
                  <a:bodyPr/>
                  <a:lstStyle/>
                  <a:p>
                    <a:r>
                      <a:t>1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BC74-4D10-A217-C514C472235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C74-4D10-A217-C514C472235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1942</c:v>
                </c:pt>
                <c:pt idx="1">
                  <c:v>13.007999999999999</c:v>
                </c:pt>
                <c:pt idx="2">
                  <c:v>11.1028</c:v>
                </c:pt>
                <c:pt idx="3">
                  <c:v>0</c:v>
                </c:pt>
                <c:pt idx="4">
                  <c:v>12.8201</c:v>
                </c:pt>
                <c:pt idx="5">
                  <c:v>0</c:v>
                </c:pt>
                <c:pt idx="6">
                  <c:v>12.935600000000001</c:v>
                </c:pt>
                <c:pt idx="7">
                  <c:v>0</c:v>
                </c:pt>
                <c:pt idx="8">
                  <c:v>12.393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FC2-4F77-A8FF-0500D82FC61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FC2-4F77-A8FF-0500D82FC61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4439.7</c:v>
                </c:pt>
                <c:pt idx="1">
                  <c:v>143.1</c:v>
                </c:pt>
                <c:pt idx="2">
                  <c:v>977.4</c:v>
                </c:pt>
                <c:pt idx="3">
                  <c:v>0</c:v>
                </c:pt>
                <c:pt idx="4">
                  <c:v>551.70000000000005</c:v>
                </c:pt>
                <c:pt idx="5">
                  <c:v>0</c:v>
                </c:pt>
                <c:pt idx="6">
                  <c:v>492.1</c:v>
                </c:pt>
                <c:pt idx="7">
                  <c:v>0</c:v>
                </c:pt>
                <c:pt idx="8">
                  <c:v>460</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FC2-4F77-A8FF-0500D82FC61F}"/>
                </c:ext>
              </c:extLst>
            </c:dLbl>
            <c:dLbl>
              <c:idx val="1"/>
              <c:tx>
                <c:rich>
                  <a:bodyPr/>
                  <a:lstStyle/>
                  <a:p>
                    <a:r>
                      <a:t>10.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FC2-4F77-A8FF-0500D82FC61F}"/>
                </c:ext>
              </c:extLst>
            </c:dLbl>
            <c:dLbl>
              <c:idx val="2"/>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FC2-4F77-A8FF-0500D82FC61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FC2-4F77-A8FF-0500D82FC61F}"/>
                </c:ext>
              </c:extLst>
            </c:dLbl>
            <c:dLbl>
              <c:idx val="4"/>
              <c:tx>
                <c:rich>
                  <a:bodyPr/>
                  <a:lstStyle/>
                  <a:p>
                    <a:r>
                      <a:t>12.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FC2-4F77-A8FF-0500D82FC61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FC2-4F77-A8FF-0500D82FC61F}"/>
                </c:ext>
              </c:extLst>
            </c:dLbl>
            <c:dLbl>
              <c:idx val="6"/>
              <c:tx>
                <c:rich>
                  <a:bodyPr/>
                  <a:lstStyle/>
                  <a:p>
                    <a:r>
                      <a:t>1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FC2-4F77-A8FF-0500D82FC61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FC2-4F77-A8FF-0500D82FC61F}"/>
                </c:ext>
              </c:extLst>
            </c:dLbl>
            <c:dLbl>
              <c:idx val="8"/>
              <c:tx>
                <c:rich>
                  <a:bodyPr/>
                  <a:lstStyle/>
                  <a:p>
                    <a:r>
                      <a:t>1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FC2-4F77-A8FF-0500D82FC61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FC2-4F77-A8FF-0500D82FC61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1942</c:v>
                </c:pt>
                <c:pt idx="1">
                  <c:v>10.351599999999999</c:v>
                </c:pt>
                <c:pt idx="2">
                  <c:v>11.1028</c:v>
                </c:pt>
                <c:pt idx="3">
                  <c:v>0</c:v>
                </c:pt>
                <c:pt idx="4">
                  <c:v>12.8201</c:v>
                </c:pt>
                <c:pt idx="5">
                  <c:v>0</c:v>
                </c:pt>
                <c:pt idx="6">
                  <c:v>12.935600000000001</c:v>
                </c:pt>
                <c:pt idx="7">
                  <c:v>0</c:v>
                </c:pt>
                <c:pt idx="8">
                  <c:v>12.393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8B92-4BA6-A781-9C8D7F0CD07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8B92-4BA6-A781-9C8D7F0CD073}"/>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4439.7</c:v>
                </c:pt>
                <c:pt idx="1">
                  <c:v>81.8</c:v>
                </c:pt>
                <c:pt idx="2">
                  <c:v>977.4</c:v>
                </c:pt>
                <c:pt idx="3">
                  <c:v>0</c:v>
                </c:pt>
                <c:pt idx="4">
                  <c:v>551.70000000000005</c:v>
                </c:pt>
                <c:pt idx="5">
                  <c:v>0</c:v>
                </c:pt>
                <c:pt idx="6">
                  <c:v>492.1</c:v>
                </c:pt>
                <c:pt idx="7">
                  <c:v>0</c:v>
                </c:pt>
                <c:pt idx="8">
                  <c:v>460</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B92-4BA6-A781-9C8D7F0CD073}"/>
                </c:ext>
              </c:extLst>
            </c:dLbl>
            <c:dLbl>
              <c:idx val="1"/>
              <c:tx>
                <c:rich>
                  <a:bodyPr/>
                  <a:lstStyle/>
                  <a:p>
                    <a:r>
                      <a:t>15.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B92-4BA6-A781-9C8D7F0CD073}"/>
                </c:ext>
              </c:extLst>
            </c:dLbl>
            <c:dLbl>
              <c:idx val="2"/>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B92-4BA6-A781-9C8D7F0CD07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B92-4BA6-A781-9C8D7F0CD073}"/>
                </c:ext>
              </c:extLst>
            </c:dLbl>
            <c:dLbl>
              <c:idx val="4"/>
              <c:tx>
                <c:rich>
                  <a:bodyPr/>
                  <a:lstStyle/>
                  <a:p>
                    <a:r>
                      <a:t>12.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B92-4BA6-A781-9C8D7F0CD07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B92-4BA6-A781-9C8D7F0CD073}"/>
                </c:ext>
              </c:extLst>
            </c:dLbl>
            <c:dLbl>
              <c:idx val="6"/>
              <c:tx>
                <c:rich>
                  <a:bodyPr/>
                  <a:lstStyle/>
                  <a:p>
                    <a:r>
                      <a:t>12.9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B92-4BA6-A781-9C8D7F0CD07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B92-4BA6-A781-9C8D7F0CD073}"/>
                </c:ext>
              </c:extLst>
            </c:dLbl>
            <c:dLbl>
              <c:idx val="8"/>
              <c:tx>
                <c:rich>
                  <a:bodyPr/>
                  <a:lstStyle/>
                  <a:p>
                    <a:r>
                      <a:t>12.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B92-4BA6-A781-9C8D7F0CD07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B92-4BA6-A781-9C8D7F0CD07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1942</c:v>
                </c:pt>
                <c:pt idx="1">
                  <c:v>15.241099999999999</c:v>
                </c:pt>
                <c:pt idx="2">
                  <c:v>11.1028</c:v>
                </c:pt>
                <c:pt idx="3">
                  <c:v>0</c:v>
                </c:pt>
                <c:pt idx="4">
                  <c:v>12.8201</c:v>
                </c:pt>
                <c:pt idx="5">
                  <c:v>0</c:v>
                </c:pt>
                <c:pt idx="6">
                  <c:v>12.935600000000001</c:v>
                </c:pt>
                <c:pt idx="7">
                  <c:v>0</c:v>
                </c:pt>
                <c:pt idx="8">
                  <c:v>12.393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6ED6-4074-892D-6900C51AB01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6ED6-4074-892D-6900C51AB01E}"/>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754.7</c:v>
                </c:pt>
                <c:pt idx="1">
                  <c:v>22.8</c:v>
                </c:pt>
                <c:pt idx="2">
                  <c:v>130.69999999999999</c:v>
                </c:pt>
                <c:pt idx="3">
                  <c:v>0</c:v>
                </c:pt>
                <c:pt idx="4">
                  <c:v>71.5</c:v>
                </c:pt>
                <c:pt idx="5">
                  <c:v>0</c:v>
                </c:pt>
                <c:pt idx="6">
                  <c:v>70.3</c:v>
                </c:pt>
                <c:pt idx="7">
                  <c:v>0</c:v>
                </c:pt>
                <c:pt idx="8">
                  <c:v>69.90000000000000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ED6-4074-892D-6900C51AB01E}"/>
                </c:ext>
              </c:extLst>
            </c:dLbl>
            <c:dLbl>
              <c:idx val="1"/>
              <c:tx>
                <c:rich>
                  <a:bodyPr/>
                  <a:lstStyle/>
                  <a:p>
                    <a:r>
                      <a:t>1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ED6-4074-892D-6900C51AB01E}"/>
                </c:ext>
              </c:extLst>
            </c:dLbl>
            <c:dLbl>
              <c:idx val="2"/>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ED6-4074-892D-6900C51AB01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ED6-4074-892D-6900C51AB01E}"/>
                </c:ext>
              </c:extLst>
            </c:dLbl>
            <c:dLbl>
              <c:idx val="4"/>
              <c:tx>
                <c:rich>
                  <a:bodyPr/>
                  <a:lstStyle/>
                  <a:p>
                    <a:r>
                      <a:t>1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ED6-4074-892D-6900C51AB01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ED6-4074-892D-6900C51AB01E}"/>
                </c:ext>
              </c:extLst>
            </c:dLbl>
            <c:dLbl>
              <c:idx val="6"/>
              <c:tx>
                <c:rich>
                  <a:bodyPr/>
                  <a:lstStyle/>
                  <a:p>
                    <a:r>
                      <a:t>1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ED6-4074-892D-6900C51AB01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ED6-4074-892D-6900C51AB01E}"/>
                </c:ext>
              </c:extLst>
            </c:dLbl>
            <c:dLbl>
              <c:idx val="8"/>
              <c:tx>
                <c:rich>
                  <a:bodyPr/>
                  <a:lstStyle/>
                  <a:p>
                    <a:r>
                      <a:t>1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ED6-4074-892D-6900C51AB01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ED6-4074-892D-6900C51AB01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2.0184</c:v>
                </c:pt>
                <c:pt idx="1">
                  <c:v>12.504899999999999</c:v>
                </c:pt>
                <c:pt idx="2">
                  <c:v>11.7029</c:v>
                </c:pt>
                <c:pt idx="3">
                  <c:v>0</c:v>
                </c:pt>
                <c:pt idx="4">
                  <c:v>13.981</c:v>
                </c:pt>
                <c:pt idx="5">
                  <c:v>0</c:v>
                </c:pt>
                <c:pt idx="6">
                  <c:v>14.349600000000001</c:v>
                </c:pt>
                <c:pt idx="7">
                  <c:v>0</c:v>
                </c:pt>
                <c:pt idx="8">
                  <c:v>13.320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E70131E-0B42-4E56-9226-5375C605D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F2F9541-D2D4-426A-9C81-B014D3C04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D07A51B-FBB6-4254-A525-146EF4DAE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988A8CD-600B-4B25-A4FB-AAE57315CA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C4F9E74-88DC-4C39-88D4-C3FD77A10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1249B38-199F-4886-8F6B-736F8896A6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DD9CCF33-3502-411B-914C-6F44EDC04F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72CC484-49EE-4052-8CAE-BD8C86479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7854999999999999</c:v>
                </c:pt>
                <c:pt idx="1">
                  <c:v>2.1145</c:v>
                </c:pt>
                <c:pt idx="2">
                  <c:v>3.4693000000000001</c:v>
                </c:pt>
                <c:pt idx="3">
                  <c:v>3.0528</c:v>
                </c:pt>
                <c:pt idx="4">
                  <c:v>2.6516999999999999</c:v>
                </c:pt>
                <c:pt idx="5">
                  <c:v>5.1757</c:v>
                </c:pt>
              </c:numCache>
            </c:numRef>
          </c:xVal>
          <c:yVal>
            <c:numRef>
              <c:f>Sheet1!$B$2:$B$7</c:f>
              <c:numCache>
                <c:formatCode>General</c:formatCode>
                <c:ptCount val="6"/>
                <c:pt idx="0">
                  <c:v>0.876</c:v>
                </c:pt>
                <c:pt idx="1">
                  <c:v>1.0249999999999999</c:v>
                </c:pt>
                <c:pt idx="2">
                  <c:v>1.6819999999999999</c:v>
                </c:pt>
                <c:pt idx="3">
                  <c:v>1.4810000000000001</c:v>
                </c:pt>
                <c:pt idx="4">
                  <c:v>1.2889999999999999</c:v>
                </c:pt>
                <c:pt idx="5">
                  <c:v>1.597</c:v>
                </c:pt>
              </c:numCache>
            </c:numRef>
          </c:yVal>
          <c:bubbleSize>
            <c:numRef>
              <c:f>Sheet1!$C$2:$C$7</c:f>
              <c:numCache>
                <c:formatCode>General</c:formatCode>
                <c:ptCount val="6"/>
                <c:pt idx="0">
                  <c:v>23637907</c:v>
                </c:pt>
                <c:pt idx="1">
                  <c:v>5715349</c:v>
                </c:pt>
                <c:pt idx="2">
                  <c:v>3679581</c:v>
                </c:pt>
                <c:pt idx="3">
                  <c:v>2136150</c:v>
                </c:pt>
                <c:pt idx="4">
                  <c:v>1221414</c:v>
                </c:pt>
                <c:pt idx="5">
                  <c:v>535470</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80C-45B8-97DF-B8D0F3ED915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80C-45B8-97DF-B8D0F3ED915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754.7</c:v>
                </c:pt>
                <c:pt idx="1">
                  <c:v>30.5</c:v>
                </c:pt>
                <c:pt idx="2">
                  <c:v>130.69999999999999</c:v>
                </c:pt>
                <c:pt idx="3">
                  <c:v>0</c:v>
                </c:pt>
                <c:pt idx="4">
                  <c:v>71.5</c:v>
                </c:pt>
                <c:pt idx="5">
                  <c:v>0</c:v>
                </c:pt>
                <c:pt idx="6">
                  <c:v>70.3</c:v>
                </c:pt>
                <c:pt idx="7">
                  <c:v>0</c:v>
                </c:pt>
                <c:pt idx="8">
                  <c:v>69.90000000000000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80C-45B8-97DF-B8D0F3ED9150}"/>
                </c:ext>
              </c:extLst>
            </c:dLbl>
            <c:dLbl>
              <c:idx val="1"/>
              <c:tx>
                <c:rich>
                  <a:bodyPr/>
                  <a:lstStyle/>
                  <a:p>
                    <a:r>
                      <a:t>9.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80C-45B8-97DF-B8D0F3ED9150}"/>
                </c:ext>
              </c:extLst>
            </c:dLbl>
            <c:dLbl>
              <c:idx val="2"/>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80C-45B8-97DF-B8D0F3ED915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80C-45B8-97DF-B8D0F3ED9150}"/>
                </c:ext>
              </c:extLst>
            </c:dLbl>
            <c:dLbl>
              <c:idx val="4"/>
              <c:tx>
                <c:rich>
                  <a:bodyPr/>
                  <a:lstStyle/>
                  <a:p>
                    <a:r>
                      <a:t>1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80C-45B8-97DF-B8D0F3ED915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80C-45B8-97DF-B8D0F3ED9150}"/>
                </c:ext>
              </c:extLst>
            </c:dLbl>
            <c:dLbl>
              <c:idx val="6"/>
              <c:tx>
                <c:rich>
                  <a:bodyPr/>
                  <a:lstStyle/>
                  <a:p>
                    <a:r>
                      <a:t>1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80C-45B8-97DF-B8D0F3ED915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80C-45B8-97DF-B8D0F3ED9150}"/>
                </c:ext>
              </c:extLst>
            </c:dLbl>
            <c:dLbl>
              <c:idx val="8"/>
              <c:tx>
                <c:rich>
                  <a:bodyPr/>
                  <a:lstStyle/>
                  <a:p>
                    <a:r>
                      <a:t>1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80C-45B8-97DF-B8D0F3ED915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80C-45B8-97DF-B8D0F3ED915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2.0184</c:v>
                </c:pt>
                <c:pt idx="1">
                  <c:v>9.6412999999999993</c:v>
                </c:pt>
                <c:pt idx="2">
                  <c:v>11.7029</c:v>
                </c:pt>
                <c:pt idx="3">
                  <c:v>0</c:v>
                </c:pt>
                <c:pt idx="4">
                  <c:v>13.981</c:v>
                </c:pt>
                <c:pt idx="5">
                  <c:v>0</c:v>
                </c:pt>
                <c:pt idx="6">
                  <c:v>14.349600000000001</c:v>
                </c:pt>
                <c:pt idx="7">
                  <c:v>0</c:v>
                </c:pt>
                <c:pt idx="8">
                  <c:v>13.320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CF0-46B6-8B03-DCE020A47E3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CF0-46B6-8B03-DCE020A47E3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754.7</c:v>
                </c:pt>
                <c:pt idx="1">
                  <c:v>15.4</c:v>
                </c:pt>
                <c:pt idx="2">
                  <c:v>130.69999999999999</c:v>
                </c:pt>
                <c:pt idx="3">
                  <c:v>0</c:v>
                </c:pt>
                <c:pt idx="4">
                  <c:v>71.5</c:v>
                </c:pt>
                <c:pt idx="5">
                  <c:v>0</c:v>
                </c:pt>
                <c:pt idx="6">
                  <c:v>70.3</c:v>
                </c:pt>
                <c:pt idx="7">
                  <c:v>0</c:v>
                </c:pt>
                <c:pt idx="8">
                  <c:v>69.90000000000000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CF0-46B6-8B03-DCE020A47E35}"/>
                </c:ext>
              </c:extLst>
            </c:dLbl>
            <c:dLbl>
              <c:idx val="1"/>
              <c:tx>
                <c:rich>
                  <a:bodyPr/>
                  <a:lstStyle/>
                  <a:p>
                    <a:r>
                      <a:t>15.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CF0-46B6-8B03-DCE020A47E35}"/>
                </c:ext>
              </c:extLst>
            </c:dLbl>
            <c:dLbl>
              <c:idx val="2"/>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CF0-46B6-8B03-DCE020A47E3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CF0-46B6-8B03-DCE020A47E35}"/>
                </c:ext>
              </c:extLst>
            </c:dLbl>
            <c:dLbl>
              <c:idx val="4"/>
              <c:tx>
                <c:rich>
                  <a:bodyPr/>
                  <a:lstStyle/>
                  <a:p>
                    <a:r>
                      <a:t>13.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CF0-46B6-8B03-DCE020A47E3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CF0-46B6-8B03-DCE020A47E35}"/>
                </c:ext>
              </c:extLst>
            </c:dLbl>
            <c:dLbl>
              <c:idx val="6"/>
              <c:tx>
                <c:rich>
                  <a:bodyPr/>
                  <a:lstStyle/>
                  <a:p>
                    <a:r>
                      <a:t>14.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CF0-46B6-8B03-DCE020A47E3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CF0-46B6-8B03-DCE020A47E35}"/>
                </c:ext>
              </c:extLst>
            </c:dLbl>
            <c:dLbl>
              <c:idx val="8"/>
              <c:tx>
                <c:rich>
                  <a:bodyPr/>
                  <a:lstStyle/>
                  <a:p>
                    <a:r>
                      <a:t>13.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CF0-46B6-8B03-DCE020A47E35}"/>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CF0-46B6-8B03-DCE020A47E3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2.0184</c:v>
                </c:pt>
                <c:pt idx="1">
                  <c:v>15.8935</c:v>
                </c:pt>
                <c:pt idx="2">
                  <c:v>11.7029</c:v>
                </c:pt>
                <c:pt idx="3">
                  <c:v>0</c:v>
                </c:pt>
                <c:pt idx="4">
                  <c:v>13.981</c:v>
                </c:pt>
                <c:pt idx="5">
                  <c:v>0</c:v>
                </c:pt>
                <c:pt idx="6">
                  <c:v>14.349600000000001</c:v>
                </c:pt>
                <c:pt idx="7">
                  <c:v>0</c:v>
                </c:pt>
                <c:pt idx="8">
                  <c:v>13.320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6C39-4B5C-9F38-57BF0C0A8D6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6C39-4B5C-9F38-57BF0C0A8D6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575.1</c:v>
                </c:pt>
                <c:pt idx="1">
                  <c:v>17.2</c:v>
                </c:pt>
                <c:pt idx="2">
                  <c:v>259.89999999999998</c:v>
                </c:pt>
                <c:pt idx="3">
                  <c:v>0</c:v>
                </c:pt>
                <c:pt idx="4">
                  <c:v>149.6</c:v>
                </c:pt>
                <c:pt idx="5">
                  <c:v>0</c:v>
                </c:pt>
                <c:pt idx="6">
                  <c:v>118.6</c:v>
                </c:pt>
                <c:pt idx="7">
                  <c:v>0</c:v>
                </c:pt>
                <c:pt idx="8">
                  <c:v>90</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C39-4B5C-9F38-57BF0C0A8D6C}"/>
                </c:ext>
              </c:extLst>
            </c:dLbl>
            <c:dLbl>
              <c:idx val="1"/>
              <c:tx>
                <c:rich>
                  <a:bodyPr/>
                  <a:lstStyle/>
                  <a:p>
                    <a:r>
                      <a:t>13.6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C39-4B5C-9F38-57BF0C0A8D6C}"/>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C39-4B5C-9F38-57BF0C0A8D6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C39-4B5C-9F38-57BF0C0A8D6C}"/>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C39-4B5C-9F38-57BF0C0A8D6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C39-4B5C-9F38-57BF0C0A8D6C}"/>
                </c:ext>
              </c:extLst>
            </c:dLbl>
            <c:dLbl>
              <c:idx val="6"/>
              <c:tx>
                <c:rich>
                  <a:bodyPr/>
                  <a:lstStyle/>
                  <a:p>
                    <a:r>
                      <a:t>1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C39-4B5C-9F38-57BF0C0A8D6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C39-4B5C-9F38-57BF0C0A8D6C}"/>
                </c:ext>
              </c:extLst>
            </c:dLbl>
            <c:dLbl>
              <c:idx val="8"/>
              <c:tx>
                <c:rich>
                  <a:bodyPr/>
                  <a:lstStyle/>
                  <a:p>
                    <a:r>
                      <a:t>1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C39-4B5C-9F38-57BF0C0A8D6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C39-4B5C-9F38-57BF0C0A8D6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2736</c:v>
                </c:pt>
                <c:pt idx="1">
                  <c:v>13.607699999999999</c:v>
                </c:pt>
                <c:pt idx="2">
                  <c:v>10.4755</c:v>
                </c:pt>
                <c:pt idx="3">
                  <c:v>0</c:v>
                </c:pt>
                <c:pt idx="4">
                  <c:v>12.640599999999999</c:v>
                </c:pt>
                <c:pt idx="5">
                  <c:v>0</c:v>
                </c:pt>
                <c:pt idx="6">
                  <c:v>11.6751</c:v>
                </c:pt>
                <c:pt idx="7">
                  <c:v>0</c:v>
                </c:pt>
                <c:pt idx="8">
                  <c:v>12.191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76F-4919-AEE6-916CDECAA78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76F-4919-AEE6-916CDECAA78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575.1</c:v>
                </c:pt>
                <c:pt idx="1">
                  <c:v>22.6</c:v>
                </c:pt>
                <c:pt idx="2">
                  <c:v>259.89999999999998</c:v>
                </c:pt>
                <c:pt idx="3">
                  <c:v>0</c:v>
                </c:pt>
                <c:pt idx="4">
                  <c:v>149.6</c:v>
                </c:pt>
                <c:pt idx="5">
                  <c:v>0</c:v>
                </c:pt>
                <c:pt idx="6">
                  <c:v>118.6</c:v>
                </c:pt>
                <c:pt idx="7">
                  <c:v>0</c:v>
                </c:pt>
                <c:pt idx="8">
                  <c:v>90</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76F-4919-AEE6-916CDECAA780}"/>
                </c:ext>
              </c:extLst>
            </c:dLbl>
            <c:dLbl>
              <c:idx val="1"/>
              <c:tx>
                <c:rich>
                  <a:bodyPr/>
                  <a:lstStyle/>
                  <a:p>
                    <a:r>
                      <a:t>10.8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76F-4919-AEE6-916CDECAA780}"/>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76F-4919-AEE6-916CDECAA78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76F-4919-AEE6-916CDECAA780}"/>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76F-4919-AEE6-916CDECAA78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76F-4919-AEE6-916CDECAA780}"/>
                </c:ext>
              </c:extLst>
            </c:dLbl>
            <c:dLbl>
              <c:idx val="6"/>
              <c:tx>
                <c:rich>
                  <a:bodyPr/>
                  <a:lstStyle/>
                  <a:p>
                    <a:r>
                      <a:t>1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76F-4919-AEE6-916CDECAA78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76F-4919-AEE6-916CDECAA780}"/>
                </c:ext>
              </c:extLst>
            </c:dLbl>
            <c:dLbl>
              <c:idx val="8"/>
              <c:tx>
                <c:rich>
                  <a:bodyPr/>
                  <a:lstStyle/>
                  <a:p>
                    <a:r>
                      <a:t>1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76F-4919-AEE6-916CDECAA78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76F-4919-AEE6-916CDECAA78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2736</c:v>
                </c:pt>
                <c:pt idx="1">
                  <c:v>10.8757</c:v>
                </c:pt>
                <c:pt idx="2">
                  <c:v>10.4755</c:v>
                </c:pt>
                <c:pt idx="3">
                  <c:v>0</c:v>
                </c:pt>
                <c:pt idx="4">
                  <c:v>12.640599999999999</c:v>
                </c:pt>
                <c:pt idx="5">
                  <c:v>0</c:v>
                </c:pt>
                <c:pt idx="6">
                  <c:v>11.6751</c:v>
                </c:pt>
                <c:pt idx="7">
                  <c:v>0</c:v>
                </c:pt>
                <c:pt idx="8">
                  <c:v>12.191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1D9D-4BF0-B6D1-4E08163D28F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1D9D-4BF0-B6D1-4E08163D28F0}"/>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C$2:$C$11</c:f>
              <c:numCache>
                <c:formatCode>General</c:formatCode>
                <c:ptCount val="10"/>
                <c:pt idx="0">
                  <c:v>575.1</c:v>
                </c:pt>
                <c:pt idx="1">
                  <c:v>15.8</c:v>
                </c:pt>
                <c:pt idx="2">
                  <c:v>259.89999999999998</c:v>
                </c:pt>
                <c:pt idx="3">
                  <c:v>0</c:v>
                </c:pt>
                <c:pt idx="4">
                  <c:v>149.6</c:v>
                </c:pt>
                <c:pt idx="5">
                  <c:v>0</c:v>
                </c:pt>
                <c:pt idx="6">
                  <c:v>118.6</c:v>
                </c:pt>
                <c:pt idx="7">
                  <c:v>0</c:v>
                </c:pt>
                <c:pt idx="8">
                  <c:v>90</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D9D-4BF0-B6D1-4E08163D28F0}"/>
                </c:ext>
              </c:extLst>
            </c:dLbl>
            <c:dLbl>
              <c:idx val="1"/>
              <c:tx>
                <c:rich>
                  <a:bodyPr/>
                  <a:lstStyle/>
                  <a:p>
                    <a:r>
                      <a:t>15.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D9D-4BF0-B6D1-4E08163D28F0}"/>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D9D-4BF0-B6D1-4E08163D28F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D9D-4BF0-B6D1-4E08163D28F0}"/>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D9D-4BF0-B6D1-4E08163D28F0}"/>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D9D-4BF0-B6D1-4E08163D28F0}"/>
                </c:ext>
              </c:extLst>
            </c:dLbl>
            <c:dLbl>
              <c:idx val="6"/>
              <c:tx>
                <c:rich>
                  <a:bodyPr/>
                  <a:lstStyle/>
                  <a:p>
                    <a:r>
                      <a:t>1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D9D-4BF0-B6D1-4E08163D28F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D9D-4BF0-B6D1-4E08163D28F0}"/>
                </c:ext>
              </c:extLst>
            </c:dLbl>
            <c:dLbl>
              <c:idx val="8"/>
              <c:tx>
                <c:rich>
                  <a:bodyPr/>
                  <a:lstStyle/>
                  <a:p>
                    <a:r>
                      <a:t>12.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D9D-4BF0-B6D1-4E08163D28F0}"/>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D9D-4BF0-B6D1-4E08163D28F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Plat Chaud</c:v>
                  </c:pt>
                </c:lvl>
              </c:multiLvlStrCache>
            </c:multiLvlStrRef>
          </c:cat>
          <c:val>
            <c:numRef>
              <c:f>Sheet1!$D$2:$D$11</c:f>
              <c:numCache>
                <c:formatCode>General</c:formatCode>
                <c:ptCount val="10"/>
                <c:pt idx="0">
                  <c:v>11.2736</c:v>
                </c:pt>
                <c:pt idx="1">
                  <c:v>15.386799999999999</c:v>
                </c:pt>
                <c:pt idx="2">
                  <c:v>10.4755</c:v>
                </c:pt>
                <c:pt idx="3">
                  <c:v>0</c:v>
                </c:pt>
                <c:pt idx="4">
                  <c:v>12.640599999999999</c:v>
                </c:pt>
                <c:pt idx="5">
                  <c:v>0</c:v>
                </c:pt>
                <c:pt idx="6">
                  <c:v>11.6751</c:v>
                </c:pt>
                <c:pt idx="7">
                  <c:v>0</c:v>
                </c:pt>
                <c:pt idx="8">
                  <c:v>12.1913</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901-4FBC-AC96-C5839DAC4A7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901-4FBC-AC96-C5839DAC4A7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Rape</c:v>
                  </c:pt>
                  <c:pt idx="6">
                    <c:v>Chevre</c:v>
                  </c:pt>
                  <c:pt idx="8">
                    <c:v>Frais A Tartiner</c:v>
                  </c:pt>
                </c:lvl>
              </c:multiLvlStrCache>
            </c:multiLvlStrRef>
          </c:cat>
          <c:val>
            <c:numRef>
              <c:f>Sheet1!$C$2:$C$11</c:f>
              <c:numCache>
                <c:formatCode>General</c:formatCode>
                <c:ptCount val="10"/>
                <c:pt idx="0">
                  <c:v>1195.8</c:v>
                </c:pt>
                <c:pt idx="1">
                  <c:v>0</c:v>
                </c:pt>
                <c:pt idx="2">
                  <c:v>1059.4000000000001</c:v>
                </c:pt>
                <c:pt idx="3">
                  <c:v>0</c:v>
                </c:pt>
                <c:pt idx="4">
                  <c:v>977.4</c:v>
                </c:pt>
                <c:pt idx="5">
                  <c:v>0</c:v>
                </c:pt>
                <c:pt idx="6">
                  <c:v>809.3</c:v>
                </c:pt>
                <c:pt idx="7">
                  <c:v>0</c:v>
                </c:pt>
                <c:pt idx="8">
                  <c:v>668.4</c:v>
                </c:pt>
                <c:pt idx="9">
                  <c:v>5.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901-4FBC-AC96-C5839DAC4A7B}"/>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901-4FBC-AC96-C5839DAC4A7B}"/>
                </c:ext>
              </c:extLst>
            </c:dLbl>
            <c:dLbl>
              <c:idx val="2"/>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901-4FBC-AC96-C5839DAC4A7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901-4FBC-AC96-C5839DAC4A7B}"/>
                </c:ext>
              </c:extLst>
            </c:dLbl>
            <c:dLbl>
              <c:idx val="4"/>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901-4FBC-AC96-C5839DAC4A7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901-4FBC-AC96-C5839DAC4A7B}"/>
                </c:ext>
              </c:extLst>
            </c:dLbl>
            <c:dLbl>
              <c:idx val="6"/>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901-4FBC-AC96-C5839DAC4A7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901-4FBC-AC96-C5839DAC4A7B}"/>
                </c:ext>
              </c:extLst>
            </c:dLbl>
            <c:dLbl>
              <c:idx val="8"/>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901-4FBC-AC96-C5839DAC4A7B}"/>
                </c:ext>
              </c:extLst>
            </c:dLbl>
            <c:dLbl>
              <c:idx val="9"/>
              <c:tx>
                <c:rich>
                  <a:bodyPr/>
                  <a:lstStyle/>
                  <a:p>
                    <a:r>
                      <a:t>16.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901-4FBC-AC96-C5839DAC4A7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Rape</c:v>
                  </c:pt>
                  <c:pt idx="6">
                    <c:v>Chevre</c:v>
                  </c:pt>
                  <c:pt idx="8">
                    <c:v>Frais A Tartiner</c:v>
                  </c:pt>
                </c:lvl>
              </c:multiLvlStrCache>
            </c:multiLvlStrRef>
          </c:cat>
          <c:val>
            <c:numRef>
              <c:f>Sheet1!$D$2:$D$11</c:f>
              <c:numCache>
                <c:formatCode>General</c:formatCode>
                <c:ptCount val="10"/>
                <c:pt idx="0">
                  <c:v>8.8196999999999992</c:v>
                </c:pt>
                <c:pt idx="1">
                  <c:v>0</c:v>
                </c:pt>
                <c:pt idx="2">
                  <c:v>12.3581</c:v>
                </c:pt>
                <c:pt idx="3">
                  <c:v>0</c:v>
                </c:pt>
                <c:pt idx="4">
                  <c:v>11.1028</c:v>
                </c:pt>
                <c:pt idx="5">
                  <c:v>0</c:v>
                </c:pt>
                <c:pt idx="6">
                  <c:v>13.533899999999999</c:v>
                </c:pt>
                <c:pt idx="7">
                  <c:v>0</c:v>
                </c:pt>
                <c:pt idx="8">
                  <c:v>11.0938</c:v>
                </c:pt>
                <c:pt idx="9">
                  <c:v>16.8077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8583-4C96-A4CA-87B68C619F8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8583-4C96-A4CA-87B68C619F8B}"/>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Rape</c:v>
                  </c:pt>
                  <c:pt idx="6">
                    <c:v>Chevre</c:v>
                  </c:pt>
                  <c:pt idx="8">
                    <c:v>Frais A Tartiner</c:v>
                  </c:pt>
                </c:lvl>
              </c:multiLvlStrCache>
            </c:multiLvlStrRef>
          </c:cat>
          <c:val>
            <c:numRef>
              <c:f>Sheet1!$C$2:$C$11</c:f>
              <c:numCache>
                <c:formatCode>General</c:formatCode>
                <c:ptCount val="10"/>
                <c:pt idx="0">
                  <c:v>1195.8</c:v>
                </c:pt>
                <c:pt idx="1">
                  <c:v>0</c:v>
                </c:pt>
                <c:pt idx="2">
                  <c:v>1059.4000000000001</c:v>
                </c:pt>
                <c:pt idx="3">
                  <c:v>0</c:v>
                </c:pt>
                <c:pt idx="4">
                  <c:v>977.4</c:v>
                </c:pt>
                <c:pt idx="5">
                  <c:v>0</c:v>
                </c:pt>
                <c:pt idx="6">
                  <c:v>809.3</c:v>
                </c:pt>
                <c:pt idx="7">
                  <c:v>0</c:v>
                </c:pt>
                <c:pt idx="8">
                  <c:v>668.4</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583-4C96-A4CA-87B68C619F8B}"/>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583-4C96-A4CA-87B68C619F8B}"/>
                </c:ext>
              </c:extLst>
            </c:dLbl>
            <c:dLbl>
              <c:idx val="2"/>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583-4C96-A4CA-87B68C619F8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583-4C96-A4CA-87B68C619F8B}"/>
                </c:ext>
              </c:extLst>
            </c:dLbl>
            <c:dLbl>
              <c:idx val="4"/>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583-4C96-A4CA-87B68C619F8B}"/>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583-4C96-A4CA-87B68C619F8B}"/>
                </c:ext>
              </c:extLst>
            </c:dLbl>
            <c:dLbl>
              <c:idx val="6"/>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583-4C96-A4CA-87B68C619F8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583-4C96-A4CA-87B68C619F8B}"/>
                </c:ext>
              </c:extLst>
            </c:dLbl>
            <c:dLbl>
              <c:idx val="8"/>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583-4C96-A4CA-87B68C619F8B}"/>
                </c:ext>
              </c:extLst>
            </c:dLbl>
            <c:dLbl>
              <c:idx val="9"/>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583-4C96-A4CA-87B68C619F8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Rape</c:v>
                  </c:pt>
                  <c:pt idx="6">
                    <c:v>Chevre</c:v>
                  </c:pt>
                  <c:pt idx="8">
                    <c:v>Frais A Tartiner</c:v>
                  </c:pt>
                </c:lvl>
              </c:multiLvlStrCache>
            </c:multiLvlStrRef>
          </c:cat>
          <c:val>
            <c:numRef>
              <c:f>Sheet1!$D$2:$D$11</c:f>
              <c:numCache>
                <c:formatCode>General</c:formatCode>
                <c:ptCount val="10"/>
                <c:pt idx="0">
                  <c:v>8.8196999999999992</c:v>
                </c:pt>
                <c:pt idx="1">
                  <c:v>0</c:v>
                </c:pt>
                <c:pt idx="2">
                  <c:v>12.3581</c:v>
                </c:pt>
                <c:pt idx="3">
                  <c:v>0</c:v>
                </c:pt>
                <c:pt idx="4">
                  <c:v>11.1028</c:v>
                </c:pt>
                <c:pt idx="5">
                  <c:v>0</c:v>
                </c:pt>
                <c:pt idx="6">
                  <c:v>13.533899999999999</c:v>
                </c:pt>
                <c:pt idx="7">
                  <c:v>0</c:v>
                </c:pt>
                <c:pt idx="8">
                  <c:v>11.0938</c:v>
                </c:pt>
                <c:pt idx="9">
                  <c:v>8.888899999999999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476-4C08-A51A-ACBA3456960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476-4C08-A51A-ACBA34569608}"/>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Rape</c:v>
                  </c:pt>
                  <c:pt idx="6">
                    <c:v>Chevre</c:v>
                  </c:pt>
                  <c:pt idx="8">
                    <c:v>Frais A Tartiner</c:v>
                  </c:pt>
                </c:lvl>
              </c:multiLvlStrCache>
            </c:multiLvlStrRef>
          </c:cat>
          <c:val>
            <c:numRef>
              <c:f>Sheet1!$C$2:$C$11</c:f>
              <c:numCache>
                <c:formatCode>General</c:formatCode>
                <c:ptCount val="10"/>
                <c:pt idx="0">
                  <c:v>1195.8</c:v>
                </c:pt>
                <c:pt idx="1">
                  <c:v>0</c:v>
                </c:pt>
                <c:pt idx="2">
                  <c:v>1059.4000000000001</c:v>
                </c:pt>
                <c:pt idx="3">
                  <c:v>11.9</c:v>
                </c:pt>
                <c:pt idx="4">
                  <c:v>977.4</c:v>
                </c:pt>
                <c:pt idx="5">
                  <c:v>0</c:v>
                </c:pt>
                <c:pt idx="6">
                  <c:v>809.3</c:v>
                </c:pt>
                <c:pt idx="7">
                  <c:v>0</c:v>
                </c:pt>
                <c:pt idx="8">
                  <c:v>668.4</c:v>
                </c:pt>
                <c:pt idx="9">
                  <c:v>69.90000000000000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8.8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476-4C08-A51A-ACBA3456960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476-4C08-A51A-ACBA34569608}"/>
                </c:ext>
              </c:extLst>
            </c:dLbl>
            <c:dLbl>
              <c:idx val="2"/>
              <c:tx>
                <c:rich>
                  <a:bodyPr/>
                  <a:lstStyle/>
                  <a:p>
                    <a:r>
                      <a:t>12.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476-4C08-A51A-ACBA34569608}"/>
                </c:ext>
              </c:extLst>
            </c:dLbl>
            <c:dLbl>
              <c:idx val="3"/>
              <c:tx>
                <c:rich>
                  <a:bodyPr/>
                  <a:lstStyle/>
                  <a:p>
                    <a:r>
                      <a:t>18.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476-4C08-A51A-ACBA34569608}"/>
                </c:ext>
              </c:extLst>
            </c:dLbl>
            <c:dLbl>
              <c:idx val="4"/>
              <c:tx>
                <c:rich>
                  <a:bodyPr/>
                  <a:lstStyle/>
                  <a:p>
                    <a:r>
                      <a:t>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476-4C08-A51A-ACBA3456960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476-4C08-A51A-ACBA34569608}"/>
                </c:ext>
              </c:extLst>
            </c:dLbl>
            <c:dLbl>
              <c:idx val="6"/>
              <c:tx>
                <c:rich>
                  <a:bodyPr/>
                  <a:lstStyle/>
                  <a:p>
                    <a:r>
                      <a:t>13.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476-4C08-A51A-ACBA3456960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476-4C08-A51A-ACBA34569608}"/>
                </c:ext>
              </c:extLst>
            </c:dLbl>
            <c:dLbl>
              <c:idx val="8"/>
              <c:tx>
                <c:rich>
                  <a:bodyPr/>
                  <a:lstStyle/>
                  <a:p>
                    <a:r>
                      <a:t>11.0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476-4C08-A51A-ACBA34569608}"/>
                </c:ext>
              </c:extLst>
            </c:dLbl>
            <c:dLbl>
              <c:idx val="9"/>
              <c:tx>
                <c:rich>
                  <a:bodyPr/>
                  <a:lstStyle/>
                  <a:p>
                    <a:r>
                      <a:t>14.7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476-4C08-A51A-ACBA3456960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Rape</c:v>
                  </c:pt>
                  <c:pt idx="6">
                    <c:v>Chevre</c:v>
                  </c:pt>
                  <c:pt idx="8">
                    <c:v>Frais A Tartiner</c:v>
                  </c:pt>
                </c:lvl>
              </c:multiLvlStrCache>
            </c:multiLvlStrRef>
          </c:cat>
          <c:val>
            <c:numRef>
              <c:f>Sheet1!$D$2:$D$11</c:f>
              <c:numCache>
                <c:formatCode>General</c:formatCode>
                <c:ptCount val="10"/>
                <c:pt idx="0">
                  <c:v>8.8196999999999992</c:v>
                </c:pt>
                <c:pt idx="1">
                  <c:v>0</c:v>
                </c:pt>
                <c:pt idx="2">
                  <c:v>12.3581</c:v>
                </c:pt>
                <c:pt idx="3">
                  <c:v>18.715699999999998</c:v>
                </c:pt>
                <c:pt idx="4">
                  <c:v>11.1028</c:v>
                </c:pt>
                <c:pt idx="5">
                  <c:v>0</c:v>
                </c:pt>
                <c:pt idx="6">
                  <c:v>13.533899999999999</c:v>
                </c:pt>
                <c:pt idx="7">
                  <c:v>0</c:v>
                </c:pt>
                <c:pt idx="8">
                  <c:v>11.0938</c:v>
                </c:pt>
                <c:pt idx="9">
                  <c:v>14.775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AE9-4F0E-9F34-98D3840A470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AE9-4F0E-9F34-98D3840A470D}"/>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Rape</c:v>
                  </c:pt>
                  <c:pt idx="8">
                    <c:v>Frais A Tartiner</c:v>
                  </c:pt>
                </c:lvl>
              </c:multiLvlStrCache>
            </c:multiLvlStrRef>
          </c:cat>
          <c:val>
            <c:numRef>
              <c:f>Sheet1!$C$2:$C$11</c:f>
              <c:numCache>
                <c:formatCode>General</c:formatCode>
                <c:ptCount val="10"/>
                <c:pt idx="0">
                  <c:v>196.4</c:v>
                </c:pt>
                <c:pt idx="1">
                  <c:v>0</c:v>
                </c:pt>
                <c:pt idx="2">
                  <c:v>191.4</c:v>
                </c:pt>
                <c:pt idx="3">
                  <c:v>0</c:v>
                </c:pt>
                <c:pt idx="4">
                  <c:v>133.69999999999999</c:v>
                </c:pt>
                <c:pt idx="5">
                  <c:v>0</c:v>
                </c:pt>
                <c:pt idx="6">
                  <c:v>130.69999999999999</c:v>
                </c:pt>
                <c:pt idx="7">
                  <c:v>0</c:v>
                </c:pt>
                <c:pt idx="8">
                  <c:v>111.9</c:v>
                </c:pt>
                <c:pt idx="9">
                  <c:v>1.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AE9-4F0E-9F34-98D3840A470D}"/>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AE9-4F0E-9F34-98D3840A470D}"/>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AE9-4F0E-9F34-98D3840A470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AE9-4F0E-9F34-98D3840A470D}"/>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AE9-4F0E-9F34-98D3840A470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AE9-4F0E-9F34-98D3840A470D}"/>
                </c:ext>
              </c:extLst>
            </c:dLbl>
            <c:dLbl>
              <c:idx val="6"/>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AE9-4F0E-9F34-98D3840A470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AE9-4F0E-9F34-98D3840A470D}"/>
                </c:ext>
              </c:extLst>
            </c:dLbl>
            <c:dLbl>
              <c:idx val="8"/>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AE9-4F0E-9F34-98D3840A470D}"/>
                </c:ext>
              </c:extLst>
            </c:dLbl>
            <c:dLbl>
              <c:idx val="9"/>
              <c:tx>
                <c:rich>
                  <a:bodyPr/>
                  <a:lstStyle/>
                  <a:p>
                    <a:r>
                      <a:t>17.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AE9-4F0E-9F34-98D3840A470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Classique</c:v>
                  </c:pt>
                  <c:pt idx="2">
                    <c:v>Salade</c:v>
                  </c:pt>
                  <c:pt idx="4">
                    <c:v>Chevre</c:v>
                  </c:pt>
                  <c:pt idx="6">
                    <c:v>Rape</c:v>
                  </c:pt>
                  <c:pt idx="8">
                    <c:v>Frais A Tartiner</c:v>
                  </c:pt>
                </c:lvl>
              </c:multiLvlStrCache>
            </c:multiLvlStrRef>
          </c:cat>
          <c:val>
            <c:numRef>
              <c:f>Sheet1!$D$2:$D$11</c:f>
              <c:numCache>
                <c:formatCode>General</c:formatCode>
                <c:ptCount val="10"/>
                <c:pt idx="0">
                  <c:v>9.4054000000000002</c:v>
                </c:pt>
                <c:pt idx="1">
                  <c:v>0</c:v>
                </c:pt>
                <c:pt idx="2">
                  <c:v>13.3095</c:v>
                </c:pt>
                <c:pt idx="3">
                  <c:v>0</c:v>
                </c:pt>
                <c:pt idx="4">
                  <c:v>14.925700000000001</c:v>
                </c:pt>
                <c:pt idx="5">
                  <c:v>0</c:v>
                </c:pt>
                <c:pt idx="6">
                  <c:v>11.7029</c:v>
                </c:pt>
                <c:pt idx="7">
                  <c:v>0</c:v>
                </c:pt>
                <c:pt idx="8">
                  <c:v>12.0724</c:v>
                </c:pt>
                <c:pt idx="9">
                  <c:v>17.3130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1701-47F5-8A45-D9982B0E058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1701-47F5-8A45-D9982B0E058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Rape</c:v>
                  </c:pt>
                  <c:pt idx="8">
                    <c:v>Frais A Tartiner</c:v>
                  </c:pt>
                </c:lvl>
              </c:multiLvlStrCache>
            </c:multiLvlStrRef>
          </c:cat>
          <c:val>
            <c:numRef>
              <c:f>Sheet1!$C$2:$C$11</c:f>
              <c:numCache>
                <c:formatCode>General</c:formatCode>
                <c:ptCount val="10"/>
                <c:pt idx="0">
                  <c:v>196.4</c:v>
                </c:pt>
                <c:pt idx="1">
                  <c:v>0</c:v>
                </c:pt>
                <c:pt idx="2">
                  <c:v>191.4</c:v>
                </c:pt>
                <c:pt idx="3">
                  <c:v>0</c:v>
                </c:pt>
                <c:pt idx="4">
                  <c:v>133.69999999999999</c:v>
                </c:pt>
                <c:pt idx="5">
                  <c:v>0</c:v>
                </c:pt>
                <c:pt idx="6">
                  <c:v>130.69999999999999</c:v>
                </c:pt>
                <c:pt idx="7">
                  <c:v>0</c:v>
                </c:pt>
                <c:pt idx="8">
                  <c:v>111.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701-47F5-8A45-D9982B0E0585}"/>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701-47F5-8A45-D9982B0E0585}"/>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701-47F5-8A45-D9982B0E058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701-47F5-8A45-D9982B0E0585}"/>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701-47F5-8A45-D9982B0E058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701-47F5-8A45-D9982B0E0585}"/>
                </c:ext>
              </c:extLst>
            </c:dLbl>
            <c:dLbl>
              <c:idx val="6"/>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701-47F5-8A45-D9982B0E0585}"/>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701-47F5-8A45-D9982B0E0585}"/>
                </c:ext>
              </c:extLst>
            </c:dLbl>
            <c:dLbl>
              <c:idx val="8"/>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701-47F5-8A45-D9982B0E0585}"/>
                </c:ext>
              </c:extLst>
            </c:dLbl>
            <c:dLbl>
              <c:idx val="9"/>
              <c:tx>
                <c:rich>
                  <a:bodyPr/>
                  <a:lstStyle/>
                  <a:p>
                    <a:r>
                      <a:t>8.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701-47F5-8A45-D9982B0E058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Classique</c:v>
                  </c:pt>
                  <c:pt idx="2">
                    <c:v>Salade</c:v>
                  </c:pt>
                  <c:pt idx="4">
                    <c:v>Chevre</c:v>
                  </c:pt>
                  <c:pt idx="6">
                    <c:v>Rape</c:v>
                  </c:pt>
                  <c:pt idx="8">
                    <c:v>Frais A Tartiner</c:v>
                  </c:pt>
                </c:lvl>
              </c:multiLvlStrCache>
            </c:multiLvlStrRef>
          </c:cat>
          <c:val>
            <c:numRef>
              <c:f>Sheet1!$D$2:$D$11</c:f>
              <c:numCache>
                <c:formatCode>General</c:formatCode>
                <c:ptCount val="10"/>
                <c:pt idx="0">
                  <c:v>9.4054000000000002</c:v>
                </c:pt>
                <c:pt idx="1">
                  <c:v>0</c:v>
                </c:pt>
                <c:pt idx="2">
                  <c:v>13.3095</c:v>
                </c:pt>
                <c:pt idx="3">
                  <c:v>0</c:v>
                </c:pt>
                <c:pt idx="4">
                  <c:v>14.925700000000001</c:v>
                </c:pt>
                <c:pt idx="5">
                  <c:v>0</c:v>
                </c:pt>
                <c:pt idx="6">
                  <c:v>11.7029</c:v>
                </c:pt>
                <c:pt idx="7">
                  <c:v>0</c:v>
                </c:pt>
                <c:pt idx="8">
                  <c:v>12.0724</c:v>
                </c:pt>
                <c:pt idx="9">
                  <c:v>8.888899999999999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0902863-0EA5-482E-8B1B-603ADA5F1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6F42E14-A7F3-4FD1-B630-808E9FFD2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74F38D6-F762-4FFB-BBD7-611F9F486F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26CB23B2-7520-454F-82A2-324EA7B76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C610D6B-4E24-4BA5-A35E-C230C9694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5C1F6E8-CF58-467B-9006-971EFDAAB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05FE02B8-D22B-4EED-8BA0-46C0F6BE08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D5FF985-0C1A-4582-AF7D-9A720ACD25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009</c:v>
                </c:pt>
                <c:pt idx="1">
                  <c:v>2.0162</c:v>
                </c:pt>
                <c:pt idx="2">
                  <c:v>1.7841</c:v>
                </c:pt>
                <c:pt idx="3">
                  <c:v>3.4218000000000002</c:v>
                </c:pt>
                <c:pt idx="4">
                  <c:v>2.6625999999999999</c:v>
                </c:pt>
                <c:pt idx="5">
                  <c:v>4.0000999999999998</c:v>
                </c:pt>
              </c:numCache>
            </c:numRef>
          </c:xVal>
          <c:yVal>
            <c:numRef>
              <c:f>Sheet1!$B$2:$B$7</c:f>
              <c:numCache>
                <c:formatCode>General</c:formatCode>
                <c:ptCount val="6"/>
                <c:pt idx="0">
                  <c:v>0.84699999999999998</c:v>
                </c:pt>
                <c:pt idx="1">
                  <c:v>1.137</c:v>
                </c:pt>
                <c:pt idx="2">
                  <c:v>1.093</c:v>
                </c:pt>
                <c:pt idx="3">
                  <c:v>1.5529999999999999</c:v>
                </c:pt>
                <c:pt idx="4">
                  <c:v>1.379</c:v>
                </c:pt>
                <c:pt idx="5">
                  <c:v>1.5629999999999999</c:v>
                </c:pt>
              </c:numCache>
            </c:numRef>
          </c:yVal>
          <c:bubbleSize>
            <c:numRef>
              <c:f>Sheet1!$C$2:$C$7</c:f>
              <c:numCache>
                <c:formatCode>General</c:formatCode>
                <c:ptCount val="6"/>
                <c:pt idx="0">
                  <c:v>8889711</c:v>
                </c:pt>
                <c:pt idx="1">
                  <c:v>4466526</c:v>
                </c:pt>
                <c:pt idx="2">
                  <c:v>1665377</c:v>
                </c:pt>
                <c:pt idx="3">
                  <c:v>826174</c:v>
                </c:pt>
                <c:pt idx="4">
                  <c:v>381075</c:v>
                </c:pt>
                <c:pt idx="5">
                  <c:v>19517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Vache Qui Rit</c:v>
                  </c:pt>
                  <c:pt idx="3">
                    <c:v>La Belle Etoile</c:v>
                  </c:pt>
                  <c:pt idx="4">
                    <c:v>Boursin</c:v>
                  </c:pt>
                  <c:pt idx="5">
                    <c:v>Ragu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6BB7-476E-B427-14C73E55F38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6BB7-476E-B427-14C73E55F386}"/>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Rape</c:v>
                  </c:pt>
                  <c:pt idx="8">
                    <c:v>Frais A Tartiner</c:v>
                  </c:pt>
                </c:lvl>
              </c:multiLvlStrCache>
            </c:multiLvlStrRef>
          </c:cat>
          <c:val>
            <c:numRef>
              <c:f>Sheet1!$C$2:$C$11</c:f>
              <c:numCache>
                <c:formatCode>General</c:formatCode>
                <c:ptCount val="10"/>
                <c:pt idx="0">
                  <c:v>196.4</c:v>
                </c:pt>
                <c:pt idx="1">
                  <c:v>0</c:v>
                </c:pt>
                <c:pt idx="2">
                  <c:v>191.4</c:v>
                </c:pt>
                <c:pt idx="3">
                  <c:v>3.2</c:v>
                </c:pt>
                <c:pt idx="4">
                  <c:v>133.69999999999999</c:v>
                </c:pt>
                <c:pt idx="5">
                  <c:v>0</c:v>
                </c:pt>
                <c:pt idx="6">
                  <c:v>130.69999999999999</c:v>
                </c:pt>
                <c:pt idx="7">
                  <c:v>0</c:v>
                </c:pt>
                <c:pt idx="8">
                  <c:v>111.9</c:v>
                </c:pt>
                <c:pt idx="9">
                  <c:v>12.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9.4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BB7-476E-B427-14C73E55F386}"/>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BB7-476E-B427-14C73E55F386}"/>
                </c:ext>
              </c:extLst>
            </c:dLbl>
            <c:dLbl>
              <c:idx val="2"/>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BB7-476E-B427-14C73E55F386}"/>
                </c:ext>
              </c:extLst>
            </c:dLbl>
            <c:dLbl>
              <c:idx val="3"/>
              <c:tx>
                <c:rich>
                  <a:bodyPr/>
                  <a:lstStyle/>
                  <a:p>
                    <a:r>
                      <a:t>18.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BB7-476E-B427-14C73E55F386}"/>
                </c:ext>
              </c:extLst>
            </c:dLbl>
            <c:dLbl>
              <c:idx val="4"/>
              <c:tx>
                <c:rich>
                  <a:bodyPr/>
                  <a:lstStyle/>
                  <a:p>
                    <a:r>
                      <a:t>14.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BB7-476E-B427-14C73E55F38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BB7-476E-B427-14C73E55F386}"/>
                </c:ext>
              </c:extLst>
            </c:dLbl>
            <c:dLbl>
              <c:idx val="6"/>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BB7-476E-B427-14C73E55F38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BB7-476E-B427-14C73E55F386}"/>
                </c:ext>
              </c:extLst>
            </c:dLbl>
            <c:dLbl>
              <c:idx val="8"/>
              <c:tx>
                <c:rich>
                  <a:bodyPr/>
                  <a:lstStyle/>
                  <a:p>
                    <a:r>
                      <a:t>12.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BB7-476E-B427-14C73E55F386}"/>
                </c:ext>
              </c:extLst>
            </c:dLbl>
            <c:dLbl>
              <c:idx val="9"/>
              <c:tx>
                <c:rich>
                  <a:bodyPr/>
                  <a:lstStyle/>
                  <a:p>
                    <a:r>
                      <a:t>1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BB7-476E-B427-14C73E55F38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Classique</c:v>
                  </c:pt>
                  <c:pt idx="2">
                    <c:v>Salade</c:v>
                  </c:pt>
                  <c:pt idx="4">
                    <c:v>Chevre</c:v>
                  </c:pt>
                  <c:pt idx="6">
                    <c:v>Rape</c:v>
                  </c:pt>
                  <c:pt idx="8">
                    <c:v>Frais A Tartiner</c:v>
                  </c:pt>
                </c:lvl>
              </c:multiLvlStrCache>
            </c:multiLvlStrRef>
          </c:cat>
          <c:val>
            <c:numRef>
              <c:f>Sheet1!$D$2:$D$11</c:f>
              <c:numCache>
                <c:formatCode>General</c:formatCode>
                <c:ptCount val="10"/>
                <c:pt idx="0">
                  <c:v>9.4054000000000002</c:v>
                </c:pt>
                <c:pt idx="1">
                  <c:v>0</c:v>
                </c:pt>
                <c:pt idx="2">
                  <c:v>13.3095</c:v>
                </c:pt>
                <c:pt idx="3">
                  <c:v>18.670000000000002</c:v>
                </c:pt>
                <c:pt idx="4">
                  <c:v>14.925700000000001</c:v>
                </c:pt>
                <c:pt idx="5">
                  <c:v>0</c:v>
                </c:pt>
                <c:pt idx="6">
                  <c:v>11.7029</c:v>
                </c:pt>
                <c:pt idx="7">
                  <c:v>0</c:v>
                </c:pt>
                <c:pt idx="8">
                  <c:v>12.0724</c:v>
                </c:pt>
                <c:pt idx="9">
                  <c:v>15.2977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AE4-4B5C-8535-C053A4555ABD}"/>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AE4-4B5C-8535-C053A4555ABD}"/>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Classique</c:v>
                  </c:pt>
                  <c:pt idx="4">
                    <c:v>Bloc</c:v>
                  </c:pt>
                  <c:pt idx="6">
                    <c:v>Salade</c:v>
                  </c:pt>
                  <c:pt idx="8">
                    <c:v>Specialite</c:v>
                  </c:pt>
                </c:lvl>
              </c:multiLvlStrCache>
            </c:multiLvlStrRef>
          </c:cat>
          <c:val>
            <c:numRef>
              <c:f>Sheet1!$C$2:$C$11</c:f>
              <c:numCache>
                <c:formatCode>General</c:formatCode>
                <c:ptCount val="10"/>
                <c:pt idx="0">
                  <c:v>259.89999999999998</c:v>
                </c:pt>
                <c:pt idx="1">
                  <c:v>0</c:v>
                </c:pt>
                <c:pt idx="2">
                  <c:v>160.9</c:v>
                </c:pt>
                <c:pt idx="3">
                  <c:v>0</c:v>
                </c:pt>
                <c:pt idx="4">
                  <c:v>149.6</c:v>
                </c:pt>
                <c:pt idx="5">
                  <c:v>0</c:v>
                </c:pt>
                <c:pt idx="6">
                  <c:v>122.8</c:v>
                </c:pt>
                <c:pt idx="7">
                  <c:v>0</c:v>
                </c:pt>
                <c:pt idx="8">
                  <c:v>118.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AE4-4B5C-8535-C053A4555ABD}"/>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AE4-4B5C-8535-C053A4555ABD}"/>
                </c:ext>
              </c:extLst>
            </c:dLbl>
            <c:dLbl>
              <c:idx val="2"/>
              <c:tx>
                <c:rich>
                  <a:bodyPr/>
                  <a:lstStyle/>
                  <a:p>
                    <a:r>
                      <a:t>9.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AE4-4B5C-8535-C053A4555AB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AE4-4B5C-8535-C053A4555ABD}"/>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AE4-4B5C-8535-C053A4555ABD}"/>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AE4-4B5C-8535-C053A4555ABD}"/>
                </c:ext>
              </c:extLst>
            </c:dLbl>
            <c:dLbl>
              <c:idx val="6"/>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AE4-4B5C-8535-C053A4555ABD}"/>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AE4-4B5C-8535-C053A4555ABD}"/>
                </c:ext>
              </c:extLst>
            </c:dLbl>
            <c:dLbl>
              <c:idx val="8"/>
              <c:tx>
                <c:rich>
                  <a:bodyPr/>
                  <a:lstStyle/>
                  <a:p>
                    <a:r>
                      <a:t>1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AE4-4B5C-8535-C053A4555ABD}"/>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AE4-4B5C-8535-C053A4555AB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Classique</c:v>
                  </c:pt>
                  <c:pt idx="4">
                    <c:v>Bloc</c:v>
                  </c:pt>
                  <c:pt idx="6">
                    <c:v>Salade</c:v>
                  </c:pt>
                  <c:pt idx="8">
                    <c:v>Specialite</c:v>
                  </c:pt>
                </c:lvl>
              </c:multiLvlStrCache>
            </c:multiLvlStrRef>
          </c:cat>
          <c:val>
            <c:numRef>
              <c:f>Sheet1!$D$2:$D$11</c:f>
              <c:numCache>
                <c:formatCode>General</c:formatCode>
                <c:ptCount val="10"/>
                <c:pt idx="0">
                  <c:v>10.4755</c:v>
                </c:pt>
                <c:pt idx="1">
                  <c:v>0</c:v>
                </c:pt>
                <c:pt idx="2">
                  <c:v>9.0599000000000007</c:v>
                </c:pt>
                <c:pt idx="3">
                  <c:v>0</c:v>
                </c:pt>
                <c:pt idx="4">
                  <c:v>12.640599999999999</c:v>
                </c:pt>
                <c:pt idx="5">
                  <c:v>0</c:v>
                </c:pt>
                <c:pt idx="6">
                  <c:v>11.93</c:v>
                </c:pt>
                <c:pt idx="7">
                  <c:v>0</c:v>
                </c:pt>
                <c:pt idx="8">
                  <c:v>11.675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5A7-4B86-A00F-85FD99A33F4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5A7-4B86-A00F-85FD99A33F4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Classique</c:v>
                  </c:pt>
                  <c:pt idx="4">
                    <c:v>Bloc</c:v>
                  </c:pt>
                  <c:pt idx="6">
                    <c:v>Salade</c:v>
                  </c:pt>
                  <c:pt idx="8">
                    <c:v>Specialite</c:v>
                  </c:pt>
                </c:lvl>
              </c:multiLvlStrCache>
            </c:multiLvlStrRef>
          </c:cat>
          <c:val>
            <c:numRef>
              <c:f>Sheet1!$C$2:$C$11</c:f>
              <c:numCache>
                <c:formatCode>General</c:formatCode>
                <c:ptCount val="10"/>
                <c:pt idx="0">
                  <c:v>259.89999999999998</c:v>
                </c:pt>
                <c:pt idx="1">
                  <c:v>0</c:v>
                </c:pt>
                <c:pt idx="2">
                  <c:v>160.9</c:v>
                </c:pt>
                <c:pt idx="3">
                  <c:v>0</c:v>
                </c:pt>
                <c:pt idx="4">
                  <c:v>149.6</c:v>
                </c:pt>
                <c:pt idx="5">
                  <c:v>0</c:v>
                </c:pt>
                <c:pt idx="6">
                  <c:v>122.8</c:v>
                </c:pt>
                <c:pt idx="7">
                  <c:v>0</c:v>
                </c:pt>
                <c:pt idx="8">
                  <c:v>118.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5A7-4B86-A00F-85FD99A33F4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5A7-4B86-A00F-85FD99A33F4F}"/>
                </c:ext>
              </c:extLst>
            </c:dLbl>
            <c:dLbl>
              <c:idx val="2"/>
              <c:tx>
                <c:rich>
                  <a:bodyPr/>
                  <a:lstStyle/>
                  <a:p>
                    <a:r>
                      <a:t>9.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5A7-4B86-A00F-85FD99A33F4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5A7-4B86-A00F-85FD99A33F4F}"/>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5A7-4B86-A00F-85FD99A33F4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5A7-4B86-A00F-85FD99A33F4F}"/>
                </c:ext>
              </c:extLst>
            </c:dLbl>
            <c:dLbl>
              <c:idx val="6"/>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5A7-4B86-A00F-85FD99A33F4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5A7-4B86-A00F-85FD99A33F4F}"/>
                </c:ext>
              </c:extLst>
            </c:dLbl>
            <c:dLbl>
              <c:idx val="8"/>
              <c:tx>
                <c:rich>
                  <a:bodyPr/>
                  <a:lstStyle/>
                  <a:p>
                    <a:r>
                      <a:t>1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5A7-4B86-A00F-85FD99A33F4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5A7-4B86-A00F-85FD99A33F4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Classique</c:v>
                  </c:pt>
                  <c:pt idx="4">
                    <c:v>Bloc</c:v>
                  </c:pt>
                  <c:pt idx="6">
                    <c:v>Salade</c:v>
                  </c:pt>
                  <c:pt idx="8">
                    <c:v>Specialite</c:v>
                  </c:pt>
                </c:lvl>
              </c:multiLvlStrCache>
            </c:multiLvlStrRef>
          </c:cat>
          <c:val>
            <c:numRef>
              <c:f>Sheet1!$D$2:$D$11</c:f>
              <c:numCache>
                <c:formatCode>General</c:formatCode>
                <c:ptCount val="10"/>
                <c:pt idx="0">
                  <c:v>10.4755</c:v>
                </c:pt>
                <c:pt idx="1">
                  <c:v>0</c:v>
                </c:pt>
                <c:pt idx="2">
                  <c:v>9.0599000000000007</c:v>
                </c:pt>
                <c:pt idx="3">
                  <c:v>0</c:v>
                </c:pt>
                <c:pt idx="4">
                  <c:v>12.640599999999999</c:v>
                </c:pt>
                <c:pt idx="5">
                  <c:v>0</c:v>
                </c:pt>
                <c:pt idx="6">
                  <c:v>11.93</c:v>
                </c:pt>
                <c:pt idx="7">
                  <c:v>0</c:v>
                </c:pt>
                <c:pt idx="8">
                  <c:v>11.675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08E-463A-A549-382E190C3E6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08E-463A-A549-382E190C3E6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Classique</c:v>
                  </c:pt>
                  <c:pt idx="4">
                    <c:v>Bloc</c:v>
                  </c:pt>
                  <c:pt idx="6">
                    <c:v>Salade</c:v>
                  </c:pt>
                  <c:pt idx="8">
                    <c:v>Specialite</c:v>
                  </c:pt>
                </c:lvl>
              </c:multiLvlStrCache>
            </c:multiLvlStrRef>
          </c:cat>
          <c:val>
            <c:numRef>
              <c:f>Sheet1!$C$2:$C$11</c:f>
              <c:numCache>
                <c:formatCode>General</c:formatCode>
                <c:ptCount val="10"/>
                <c:pt idx="0">
                  <c:v>259.89999999999998</c:v>
                </c:pt>
                <c:pt idx="1">
                  <c:v>0</c:v>
                </c:pt>
                <c:pt idx="2">
                  <c:v>160.9</c:v>
                </c:pt>
                <c:pt idx="3">
                  <c:v>0</c:v>
                </c:pt>
                <c:pt idx="4">
                  <c:v>149.6</c:v>
                </c:pt>
                <c:pt idx="5">
                  <c:v>0</c:v>
                </c:pt>
                <c:pt idx="6">
                  <c:v>122.8</c:v>
                </c:pt>
                <c:pt idx="7">
                  <c:v>1.8</c:v>
                </c:pt>
                <c:pt idx="8">
                  <c:v>118.6</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08E-463A-A549-382E190C3E6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08E-463A-A549-382E190C3E69}"/>
                </c:ext>
              </c:extLst>
            </c:dLbl>
            <c:dLbl>
              <c:idx val="2"/>
              <c:tx>
                <c:rich>
                  <a:bodyPr/>
                  <a:lstStyle/>
                  <a:p>
                    <a:r>
                      <a:t>9.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08E-463A-A549-382E190C3E6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08E-463A-A549-382E190C3E69}"/>
                </c:ext>
              </c:extLst>
            </c:dLbl>
            <c:dLbl>
              <c:idx val="4"/>
              <c:tx>
                <c:rich>
                  <a:bodyPr/>
                  <a:lstStyle/>
                  <a:p>
                    <a:r>
                      <a:t>12.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08E-463A-A549-382E190C3E6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08E-463A-A549-382E190C3E69}"/>
                </c:ext>
              </c:extLst>
            </c:dLbl>
            <c:dLbl>
              <c:idx val="6"/>
              <c:tx>
                <c:rich>
                  <a:bodyPr/>
                  <a:lstStyle/>
                  <a:p>
                    <a:r>
                      <a:t>11.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08E-463A-A549-382E190C3E69}"/>
                </c:ext>
              </c:extLst>
            </c:dLbl>
            <c:dLbl>
              <c:idx val="7"/>
              <c:tx>
                <c:rich>
                  <a:bodyPr/>
                  <a:lstStyle/>
                  <a:p>
                    <a:r>
                      <a:t>19.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08E-463A-A549-382E190C3E69}"/>
                </c:ext>
              </c:extLst>
            </c:dLbl>
            <c:dLbl>
              <c:idx val="8"/>
              <c:tx>
                <c:rich>
                  <a:bodyPr/>
                  <a:lstStyle/>
                  <a:p>
                    <a:r>
                      <a:t>11.6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08E-463A-A549-382E190C3E6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08E-463A-A549-382E190C3E6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Classique</c:v>
                  </c:pt>
                  <c:pt idx="4">
                    <c:v>Bloc</c:v>
                  </c:pt>
                  <c:pt idx="6">
                    <c:v>Salade</c:v>
                  </c:pt>
                  <c:pt idx="8">
                    <c:v>Specialite</c:v>
                  </c:pt>
                </c:lvl>
              </c:multiLvlStrCache>
            </c:multiLvlStrRef>
          </c:cat>
          <c:val>
            <c:numRef>
              <c:f>Sheet1!$D$2:$D$11</c:f>
              <c:numCache>
                <c:formatCode>General</c:formatCode>
                <c:ptCount val="10"/>
                <c:pt idx="0">
                  <c:v>10.4755</c:v>
                </c:pt>
                <c:pt idx="1">
                  <c:v>0</c:v>
                </c:pt>
                <c:pt idx="2">
                  <c:v>9.0599000000000007</c:v>
                </c:pt>
                <c:pt idx="3">
                  <c:v>0</c:v>
                </c:pt>
                <c:pt idx="4">
                  <c:v>12.640599999999999</c:v>
                </c:pt>
                <c:pt idx="5">
                  <c:v>0</c:v>
                </c:pt>
                <c:pt idx="6">
                  <c:v>11.93</c:v>
                </c:pt>
                <c:pt idx="7">
                  <c:v>19.544699999999999</c:v>
                </c:pt>
                <c:pt idx="8">
                  <c:v>11.675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3.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5.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6.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7.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3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2.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3.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5.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6.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7.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8.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40.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4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42.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3.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5.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6.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7.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8.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50.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51.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52.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3.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5.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6.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7.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58.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5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60.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61.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62.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63.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93.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56612600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86863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10354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0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3824"/>
            <a:ext cx="4869366" cy="72813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0586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00160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877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11151"/>
            <a:ext cx="4869366" cy="74212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72302"/>
            <a:ext cx="4869366" cy="15032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697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29151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956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8089"/>
            <a:ext cx="4869366" cy="7070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3342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354516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177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35767"/>
            <a:ext cx="4869366" cy="76682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4542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78798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976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74274"/>
            <a:ext cx="4869366" cy="7869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81434"/>
            <a:ext cx="4869366" cy="159414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0735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037228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629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0252"/>
            <a:ext cx="4869366" cy="7653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6657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73377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5943"/>
            <a:ext cx="4869366" cy="935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7775"/>
            <a:ext cx="4869366" cy="6186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90213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22071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54466"/>
            <a:ext cx="4869366" cy="962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33609"/>
            <a:ext cx="4869366" cy="63644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9118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60946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41798"/>
            <a:ext cx="4869366" cy="93403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91667"/>
            <a:ext cx="4869366" cy="61741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56724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88452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3720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59315"/>
            <a:ext cx="4869366" cy="69356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8596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rrefour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81500305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479786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708681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8077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02529"/>
            <a:ext cx="4869366" cy="67940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695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2017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40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5935"/>
            <a:ext cx="4869366" cy="6848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96721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77011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37275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302270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88383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939192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56648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5284800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22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4508"/>
            <a:ext cx="4869366" cy="6984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0833"/>
            <a:ext cx="4869366" cy="141474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11901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684244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1574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8867"/>
            <a:ext cx="4869366" cy="7330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90702"/>
            <a:ext cx="4869366" cy="148487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51499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1638061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47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6990"/>
            <a:ext cx="4869366" cy="6976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62481"/>
            <a:ext cx="4869366" cy="141309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34990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4183174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10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3264"/>
            <a:ext cx="4869366" cy="6988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22108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66388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2375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Intermarche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45268848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215714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25703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375749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017538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536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9990"/>
            <a:ext cx="4869366" cy="79166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34067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999328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588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0678"/>
            <a:ext cx="4869366" cy="7979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67365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062374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972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2573"/>
            <a:ext cx="4869366" cy="7219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13250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8927882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60694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468247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30693"/>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49138"/>
            <a:ext cx="4869366" cy="832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95988"/>
            <a:ext cx="4869366" cy="55045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67286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013328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647640"/>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865436"/>
            <a:ext cx="4869366" cy="7944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73304"/>
            <a:ext cx="4869366" cy="5251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979307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005901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52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7129"/>
            <a:ext cx="4869366" cy="6844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32984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224146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30064"/>
            <a:ext cx="4869366" cy="93790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83867"/>
            <a:ext cx="4869366" cy="6199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12869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25653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67720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27448511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41247511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10141479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093232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396070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98747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203382"/>
            <a:ext cx="4869366" cy="6830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897972"/>
            <a:ext cx="4869366" cy="45148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309784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395387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64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90864"/>
            <a:ext cx="4869366" cy="8470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64826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811820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045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23708"/>
            <a:ext cx="4869366" cy="7380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0318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847654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0235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20962"/>
            <a:ext cx="4869366" cy="8420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77257"/>
            <a:ext cx="4869366" cy="5565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48120"/>
            <a:ext cx="4869366" cy="11274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14793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67382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6751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85753"/>
            <a:ext cx="4869366" cy="8206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0330"/>
            <a:ext cx="4869366" cy="5424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6715"/>
            <a:ext cx="4869366" cy="109886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538267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565523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4024"/>
            <a:ext cx="4869366" cy="117155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24454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9458828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8426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08489"/>
            <a:ext cx="4869366" cy="77576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04148"/>
            <a:ext cx="4869366" cy="157142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64527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804478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877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2785"/>
            <a:ext cx="4869366" cy="80713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0614"/>
            <a:ext cx="4869366" cy="163496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77108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4147676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27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17753"/>
            <a:ext cx="4869366" cy="80550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3912"/>
            <a:ext cx="4869366" cy="163166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693112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860950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2101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3264"/>
            <a:ext cx="4869366" cy="69882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07231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rrefou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91955772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17916874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65213220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5678320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Carrefour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1901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212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5612"/>
            <a:ext cx="4869366" cy="74721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54183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Intermarche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094434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36674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271437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0287515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642200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796885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18371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614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5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0464803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6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7870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Intermarch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29865964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00794617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86118801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715107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6763252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406170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Carrefour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8%)</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698760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0/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Intermarche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488977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6631987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658517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859270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13092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79042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47175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96766517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38839802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980864844"/>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1974120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818925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541853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959256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8709166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48313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121799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38282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3796703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587619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44705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rrefour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82352221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43502733"/>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80183591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329102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2640104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448266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602521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0741326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08436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8525149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636308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04526417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33765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394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0/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Intermarche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8810679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40853187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23739838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7510475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Carrefour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0142771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3081463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1105651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0/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Intermarche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58776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6</TotalTime>
  <Words>9492</Words>
  <Application>Microsoft Office PowerPoint</Application>
  <PresentationFormat>On-screen Show (16:9)</PresentationFormat>
  <Paragraphs>2754</Paragraphs>
  <Slides>93</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3"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0T15:4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